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heme/theme4.xml" ContentType="application/vnd.openxmlformats-officedocument.them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5" r:id="rId2"/>
    <p:sldMasterId id="2147483686" r:id="rId3"/>
  </p:sldMasterIdLst>
  <p:notesMasterIdLst>
    <p:notesMasterId r:id="rId5"/>
  </p:notesMasterIdLst>
  <p:sldIdLst>
    <p:sldId id="2006" r:id="rId4"/>
  </p:sldIdLst>
  <p:sldSz cx="8961438" cy="6721475"/>
  <p:notesSz cx="6858000" cy="9144000"/>
  <p:custDataLst>
    <p:tags r:id="rId6"/>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7012" autoAdjust="0"/>
    <p:restoredTop sz="94660"/>
  </p:normalViewPr>
  <p:slideViewPr>
    <p:cSldViewPr snapToGrid="0">
      <p:cViewPr>
        <p:scale>
          <a:sx n="119" d="100"/>
          <a:sy n="119" d="100"/>
        </p:scale>
        <p:origin x="1520" y="-812"/>
      </p:cViewPr>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tags" Target="tags/tag1.xml"/><Relationship Id="rId5" Type="http://schemas.openxmlformats.org/officeDocument/2006/relationships/notesMaster" Target="notesMasters/notesMaster1.xml"/><Relationship Id="rId10"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9AE379-0FDB-4141-943D-EC76FBCBDDF3}" type="datetimeFigureOut">
              <a:rPr lang="en-US" smtClean="0"/>
              <a:t>2/28/2020</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97D5941-1322-4111-86EF-1629D3D1ACAE}" type="slidenum">
              <a:rPr lang="en-US" smtClean="0"/>
              <a:t>‹#›</a:t>
            </a:fld>
            <a:endParaRPr lang="en-US"/>
          </a:p>
        </p:txBody>
      </p:sp>
    </p:spTree>
    <p:extLst>
      <p:ext uri="{BB962C8B-B14F-4D97-AF65-F5344CB8AC3E}">
        <p14:creationId xmlns:p14="http://schemas.microsoft.com/office/powerpoint/2010/main" val="284396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EF883CC-95E0-4EFC-A0EE-F62C72B392AF}" type="slidenum">
              <a:rPr lang="en-US" smtClean="0"/>
              <a:t>1</a:t>
            </a:fld>
            <a:endParaRPr lang="en-US"/>
          </a:p>
        </p:txBody>
      </p:sp>
    </p:spTree>
    <p:extLst>
      <p:ext uri="{BB962C8B-B14F-4D97-AF65-F5344CB8AC3E}">
        <p14:creationId xmlns:p14="http://schemas.microsoft.com/office/powerpoint/2010/main" val="1201170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9.xml"/><Relationship Id="rId1" Type="http://schemas.openxmlformats.org/officeDocument/2006/relationships/vmlDrawing" Target="../drawings/vmlDrawing2.vml"/><Relationship Id="rId6" Type="http://schemas.openxmlformats.org/officeDocument/2006/relationships/image" Target="../media/image3.jp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2.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3.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4.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5.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6.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7.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8.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9.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1.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43.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24.xml.rels><?xml version="1.0" encoding="UTF-8" standalone="yes"?>
<Relationships xmlns="http://schemas.openxmlformats.org/package/2006/relationships"><Relationship Id="rId3" Type="http://schemas.openxmlformats.org/officeDocument/2006/relationships/hyperlink" Target="https://www.ghsupplychain.org/" TargetMode="External"/><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ags" Target="../tags/tag49.xml"/><Relationship Id="rId4" Type="http://schemas.openxmlformats.org/officeDocument/2006/relationships/image" Target="../media/image8.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ags" Target="../tags/tag50.xml"/><Relationship Id="rId4" Type="http://schemas.openxmlformats.org/officeDocument/2006/relationships/image" Target="../media/image8.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ags" Target="../tags/tag51.xml"/><Relationship Id="rId4" Type="http://schemas.openxmlformats.org/officeDocument/2006/relationships/image" Target="../media/image10.png"/></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2.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4.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5.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6.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7.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8.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9.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0.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1.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2.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4.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3.xml"/><Relationship Id="rId1" Type="http://schemas.openxmlformats.org/officeDocument/2006/relationships/tags" Target="../tags/tag66.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7.xml"/></Relationships>
</file>

<file path=ppt/slideLayouts/_rels/slideLayout44.xml.rels><?xml version="1.0" encoding="UTF-8" standalone="yes"?>
<Relationships xmlns="http://schemas.openxmlformats.org/package/2006/relationships"><Relationship Id="rId3" Type="http://schemas.openxmlformats.org/officeDocument/2006/relationships/hyperlink" Target="https://www.ghsupplychain.org/" TargetMode="External"/><Relationship Id="rId2" Type="http://schemas.openxmlformats.org/officeDocument/2006/relationships/slideMaster" Target="../slideMasters/slideMaster3.xml"/><Relationship Id="rId1" Type="http://schemas.openxmlformats.org/officeDocument/2006/relationships/tags" Target="../tags/tag68.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26.xml"/><Relationship Id="rId4" Type="http://schemas.openxmlformats.org/officeDocument/2006/relationships/image" Target="../media/image8.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8.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8.png"/></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9.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5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14" name="Picture Placeholder 9"/>
          <p:cNvPicPr>
            <a:picLocks noChangeAspect="1"/>
          </p:cNvPicPr>
          <p:nvPr/>
        </p:nvPicPr>
        <p:blipFill rotWithShape="1">
          <a:blip r:embed="rId6">
            <a:extLst>
              <a:ext uri="{28A0092B-C50C-407E-A947-70E740481C1C}">
                <a14:useLocalDpi xmlns:a14="http://schemas.microsoft.com/office/drawing/2010/main" val="0"/>
              </a:ext>
            </a:extLst>
          </a:blip>
          <a:srcRect l="1681" t="1266" r="784" b="18987"/>
          <a:stretch/>
        </p:blipFill>
        <p:spPr bwMode="ltGray">
          <a:xfrm>
            <a:off x="149358" y="149366"/>
            <a:ext cx="8662723" cy="4705033"/>
          </a:xfrm>
          <a:prstGeom prst="rect">
            <a:avLst/>
          </a:prstGeom>
          <a:solidFill>
            <a:srgbClr val="CFCDC9"/>
          </a:solidFill>
        </p:spPr>
      </p:pic>
      <p:pic>
        <p:nvPicPr>
          <p:cNvPr id="20" name="Picture 1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ltGray">
          <a:xfrm>
            <a:off x="224036" y="5018399"/>
            <a:ext cx="2490450" cy="956245"/>
          </a:xfrm>
          <a:prstGeom prst="rect">
            <a:avLst/>
          </a:prstGeom>
        </p:spPr>
      </p:pic>
      <p:cxnSp>
        <p:nvCxnSpPr>
          <p:cNvPr id="21" name="Straight Connector 20"/>
          <p:cNvCxnSpPr/>
          <p:nvPr/>
        </p:nvCxnSpPr>
        <p:spPr bwMode="ltGray">
          <a:xfrm>
            <a:off x="149358" y="6124011"/>
            <a:ext cx="8662723" cy="0"/>
          </a:xfrm>
          <a:prstGeom prst="line">
            <a:avLst/>
          </a:prstGeom>
          <a:ln w="3175">
            <a:solidFill>
              <a:srgbClr val="BA0C2F"/>
            </a:solidFill>
          </a:ln>
          <a:effectLst/>
        </p:spPr>
        <p:style>
          <a:lnRef idx="2">
            <a:schemeClr val="accent1"/>
          </a:lnRef>
          <a:fillRef idx="0">
            <a:schemeClr val="accent1"/>
          </a:fillRef>
          <a:effectRef idx="1">
            <a:schemeClr val="accent1"/>
          </a:effectRef>
          <a:fontRef idx="minor">
            <a:schemeClr val="tx1"/>
          </a:fontRef>
        </p:style>
      </p:cxnSp>
      <p:sp>
        <p:nvSpPr>
          <p:cNvPr id="4" name="Working Draft Text" hidden="1"/>
          <p:cNvSpPr txBox="1">
            <a:spLocks noChangeArrowheads="1"/>
          </p:cNvSpPr>
          <p:nvPr/>
        </p:nvSpPr>
        <p:spPr bwMode="auto">
          <a:xfrm>
            <a:off x="746787" y="319291"/>
            <a:ext cx="85119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800" b="1" baseline="0" dirty="0">
                <a:solidFill>
                  <a:schemeClr val="bg1"/>
                </a:solidFill>
                <a:latin typeface="Gill Sans MT" panose="020B0502020104020203" pitchFamily="34" charset="0"/>
                <a:sym typeface="Gill Sans MT" panose="020B0502020104020203" pitchFamily="34" charset="0"/>
              </a:rPr>
              <a:t>WORKING DRAFT</a:t>
            </a:r>
          </a:p>
        </p:txBody>
      </p:sp>
      <p:sp>
        <p:nvSpPr>
          <p:cNvPr id="6" name="Working Draft" hidden="1"/>
          <p:cNvSpPr txBox="1">
            <a:spLocks noChangeArrowheads="1"/>
          </p:cNvSpPr>
          <p:nvPr/>
        </p:nvSpPr>
        <p:spPr bwMode="auto">
          <a:xfrm>
            <a:off x="746787" y="442401"/>
            <a:ext cx="229389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800" baseline="0">
                <a:solidFill>
                  <a:schemeClr val="bg1"/>
                </a:solidFill>
                <a:latin typeface="Gill Sans MT" panose="020B0502020104020203" pitchFamily="34" charset="0"/>
                <a:sym typeface="Gill Sans MT" panose="020B0502020104020203" pitchFamily="34" charset="0"/>
              </a:rPr>
              <a:t>Last Modified 2020-02-28 11:34 Eastern Standard Time</a:t>
            </a:r>
            <a:endParaRPr lang="x-none" sz="800" baseline="0" dirty="0">
              <a:solidFill>
                <a:schemeClr val="bg1"/>
              </a:solidFill>
              <a:latin typeface="Gill Sans MT" panose="020B0502020104020203" pitchFamily="34" charset="0"/>
              <a:sym typeface="Gill Sans MT" panose="020B0502020104020203" pitchFamily="34" charset="0"/>
            </a:endParaRPr>
          </a:p>
        </p:txBody>
      </p:sp>
      <p:sp>
        <p:nvSpPr>
          <p:cNvPr id="7" name="Printed" hidden="1"/>
          <p:cNvSpPr txBox="1">
            <a:spLocks noChangeArrowheads="1"/>
          </p:cNvSpPr>
          <p:nvPr/>
        </p:nvSpPr>
        <p:spPr bwMode="auto">
          <a:xfrm>
            <a:off x="746786" y="565512"/>
            <a:ext cx="2101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800" baseline="0">
                <a:solidFill>
                  <a:schemeClr val="bg1"/>
                </a:solidFill>
                <a:latin typeface="Gill Sans MT" panose="020B0502020104020203" pitchFamily="34" charset="0"/>
                <a:sym typeface="Gill Sans MT" panose="020B0502020104020203" pitchFamily="34" charset="0"/>
              </a:rPr>
              <a:t>Printed 23/02/2018 08:58 Morocco Standard Time</a:t>
            </a:r>
            <a:endParaRPr lang="en-US" sz="800" baseline="0" dirty="0">
              <a:solidFill>
                <a:schemeClr val="bg1"/>
              </a:solidFill>
              <a:latin typeface="Gill Sans MT" panose="020B0502020104020203" pitchFamily="34" charset="0"/>
              <a:sym typeface="Gill Sans MT" panose="020B0502020104020203" pitchFamily="34" charset="0"/>
            </a:endParaRPr>
          </a:p>
        </p:txBody>
      </p:sp>
      <p:sp>
        <p:nvSpPr>
          <p:cNvPr id="13314" name="Title"/>
          <p:cNvSpPr>
            <a:spLocks noGrp="1" noChangeArrowheads="1"/>
          </p:cNvSpPr>
          <p:nvPr>
            <p:ph type="ctrTitle"/>
          </p:nvPr>
        </p:nvSpPr>
        <p:spPr bwMode="auto">
          <a:xfrm>
            <a:off x="746786" y="1969932"/>
            <a:ext cx="4928791" cy="492443"/>
          </a:xfrm>
          <a:prstGeom prst="rect">
            <a:avLst/>
          </a:prstGeom>
        </p:spPr>
        <p:txBody>
          <a:bodyPr wrap="square" anchor="b">
            <a:spAutoFit/>
          </a:bodyPr>
          <a:lstStyle>
            <a:lvl1pPr>
              <a:defRPr lang="x-none" sz="3136" b="0" baseline="0">
                <a:solidFill>
                  <a:schemeClr val="bg1"/>
                </a:solidFill>
                <a:latin typeface="Gill Sans MT" panose="020B0502020104020203" pitchFamily="34" charset="0"/>
                <a:ea typeface="+mj-ea"/>
                <a:sym typeface="Gill Sans MT" panose="020B0502020104020203" pitchFamily="34" charset="0"/>
              </a:defRPr>
            </a:lvl1pPr>
          </a:lstStyle>
          <a:p>
            <a:pPr lvl="0" latinLnBrk="0"/>
            <a:r>
              <a:rPr lang="en-US" noProof="0"/>
              <a:t>Click to edit Master title style</a:t>
            </a:r>
            <a:endParaRPr lang="x-none" noProof="0" dirty="0"/>
          </a:p>
        </p:txBody>
      </p:sp>
      <p:sp>
        <p:nvSpPr>
          <p:cNvPr id="13315" name="Subtitle"/>
          <p:cNvSpPr>
            <a:spLocks noGrp="1" noChangeArrowheads="1"/>
          </p:cNvSpPr>
          <p:nvPr>
            <p:ph type="subTitle" idx="1"/>
          </p:nvPr>
        </p:nvSpPr>
        <p:spPr bwMode="auto">
          <a:xfrm>
            <a:off x="746786" y="2616261"/>
            <a:ext cx="4928791" cy="211155"/>
          </a:xfrm>
          <a:prstGeom prst="rect">
            <a:avLst/>
          </a:prstGeom>
        </p:spPr>
        <p:txBody>
          <a:bodyPr wrap="square">
            <a:spAutoFit/>
          </a:bodyPr>
          <a:lstStyle>
            <a:lvl1pPr>
              <a:defRPr lang="x-none" sz="1372" b="1" cap="none" baseline="0">
                <a:solidFill>
                  <a:schemeClr val="bg1"/>
                </a:solidFill>
                <a:latin typeface="Gill Sans MT" panose="020B0502020104020203" pitchFamily="34" charset="0"/>
                <a:ea typeface="+mn-ea"/>
                <a:sym typeface="Gill Sans MT" panose="020B0502020104020203" pitchFamily="34" charset="0"/>
              </a:defRPr>
            </a:lvl1pPr>
          </a:lstStyle>
          <a:p>
            <a:pPr lvl="0" latinLnBrk="0"/>
            <a:r>
              <a:rPr lang="en-US" noProof="0"/>
              <a:t>Click to edit Master subtitle style</a:t>
            </a:r>
            <a:endParaRPr lang="x-none" noProof="0" dirty="0"/>
          </a:p>
        </p:txBody>
      </p:sp>
      <p:sp>
        <p:nvSpPr>
          <p:cNvPr id="57" name="Document type" hidden="1"/>
          <p:cNvSpPr txBox="1">
            <a:spLocks noChangeArrowheads="1"/>
          </p:cNvSpPr>
          <p:nvPr/>
        </p:nvSpPr>
        <p:spPr bwMode="auto">
          <a:xfrm>
            <a:off x="746786" y="3976344"/>
            <a:ext cx="4928791" cy="211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1372" baseline="0" dirty="0">
                <a:solidFill>
                  <a:schemeClr val="bg1"/>
                </a:solidFill>
                <a:latin typeface="Gill Sans MT" panose="020B0502020104020203" pitchFamily="34" charset="0"/>
                <a:sym typeface="Gill Sans MT" panose="020B0502020104020203" pitchFamily="34" charset="0"/>
              </a:rPr>
              <a:t>Document type | Date</a:t>
            </a:r>
          </a:p>
        </p:txBody>
      </p:sp>
      <p:cxnSp>
        <p:nvCxnSpPr>
          <p:cNvPr id="22" name="Straight Connector 21"/>
          <p:cNvCxnSpPr/>
          <p:nvPr/>
        </p:nvCxnSpPr>
        <p:spPr>
          <a:xfrm>
            <a:off x="746787" y="2539224"/>
            <a:ext cx="313650" cy="0"/>
          </a:xfrm>
          <a:prstGeom prst="line">
            <a:avLst/>
          </a:prstGeom>
          <a:ln w="19050">
            <a:solidFill>
              <a:srgbClr val="FFFFFF"/>
            </a:solidFill>
          </a:ln>
          <a:effectLst>
            <a:outerShdw blurRad="254000" dir="2700000" algn="tl" rotWithShape="0">
              <a:srgbClr val="000000">
                <a:alpha val="40000"/>
              </a:srgb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777780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PPT Slide with a Chart</a:t>
            </a:r>
          </a:p>
        </p:txBody>
      </p:sp>
      <p:sp>
        <p:nvSpPr>
          <p:cNvPr id="6" name="Slide Number Placeholder 5"/>
          <p:cNvSpPr>
            <a:spLocks noGrp="1"/>
          </p:cNvSpPr>
          <p:nvPr>
            <p:ph type="sldNum" sz="quarter" idx="12"/>
          </p:nvPr>
        </p:nvSpPr>
        <p:spPr/>
        <p:txBody>
          <a:bodyPr/>
          <a:lstStyle>
            <a:lvl1pPr>
              <a:defRPr b="1">
                <a:solidFill>
                  <a:srgbClr val="BA0C2F"/>
                </a:solidFill>
              </a:defRPr>
            </a:lvl1pPr>
          </a:lstStyle>
          <a:p>
            <a:fld id="{AFB4637D-E648-4D47-95AC-4BFF987C325D}" type="slidenum">
              <a:rPr lang="en-US" smtClean="0"/>
              <a:pPr/>
              <a:t>‹#›</a:t>
            </a:fld>
            <a:endParaRPr lang="en-US" dirty="0"/>
          </a:p>
        </p:txBody>
      </p:sp>
      <p:sp>
        <p:nvSpPr>
          <p:cNvPr id="5" name="Chart Placeholder 4">
            <a:extLst>
              <a:ext uri="{FF2B5EF4-FFF2-40B4-BE49-F238E27FC236}">
                <a16:creationId xmlns:a16="http://schemas.microsoft.com/office/drawing/2014/main" id="{9EF5820D-B49E-4DDB-9466-EDC583558FF6}"/>
              </a:ext>
            </a:extLst>
          </p:cNvPr>
          <p:cNvSpPr>
            <a:spLocks noGrp="1"/>
          </p:cNvSpPr>
          <p:nvPr>
            <p:ph type="chart" sz="quarter" idx="13"/>
          </p:nvPr>
        </p:nvSpPr>
        <p:spPr>
          <a:xfrm>
            <a:off x="616099" y="1781503"/>
            <a:ext cx="7729240" cy="4275605"/>
          </a:xfrm>
        </p:spPr>
        <p:txBody>
          <a:bodyPr/>
          <a:lstStyle>
            <a:lvl1pPr marL="0" indent="0">
              <a:buFontTx/>
              <a:buNone/>
              <a:defRPr/>
            </a:lvl1pPr>
          </a:lstStyle>
          <a:p>
            <a:r>
              <a:rPr lang="en-US"/>
              <a:t>Click icon to add chart</a:t>
            </a:r>
            <a:endParaRPr lang="en-US" dirty="0"/>
          </a:p>
        </p:txBody>
      </p:sp>
    </p:spTree>
    <p:custDataLst>
      <p:tags r:id="rId1"/>
    </p:custDataLst>
    <p:extLst>
      <p:ext uri="{BB962C8B-B14F-4D97-AF65-F5344CB8AC3E}">
        <p14:creationId xmlns:p14="http://schemas.microsoft.com/office/powerpoint/2010/main" val="38001720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Two Bulleted Lists">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62326CE5-7B79-4D0F-BE25-0C7C6EF3F186}"/>
              </a:ext>
            </a:extLst>
          </p:cNvPr>
          <p:cNvGrpSpPr/>
          <p:nvPr/>
        </p:nvGrpSpPr>
        <p:grpSpPr>
          <a:xfrm>
            <a:off x="0" y="759278"/>
            <a:ext cx="5476434" cy="5607453"/>
            <a:chOff x="0" y="774700"/>
            <a:chExt cx="5588000" cy="5721350"/>
          </a:xfrm>
          <a:solidFill>
            <a:schemeClr val="accent2"/>
          </a:solidFill>
        </p:grpSpPr>
        <p:sp>
          <p:nvSpPr>
            <p:cNvPr id="9" name="Flowchart: Delay 8">
              <a:extLst>
                <a:ext uri="{FF2B5EF4-FFF2-40B4-BE49-F238E27FC236}">
                  <a16:creationId xmlns:a16="http://schemas.microsoft.com/office/drawing/2014/main" id="{33270099-48B6-4148-B2DB-6DCFDB22C1A2}"/>
                </a:ext>
              </a:extLst>
            </p:cNvPr>
            <p:cNvSpPr>
              <a:spLocks/>
            </p:cNvSpPr>
            <p:nvPr userDrawn="1"/>
          </p:nvSpPr>
          <p:spPr>
            <a:xfrm>
              <a:off x="463550" y="774700"/>
              <a:ext cx="5124450" cy="5721350"/>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68"/>
            </a:p>
          </p:txBody>
        </p:sp>
        <p:sp>
          <p:nvSpPr>
            <p:cNvPr id="5" name="Rectangle 4">
              <a:extLst>
                <a:ext uri="{FF2B5EF4-FFF2-40B4-BE49-F238E27FC236}">
                  <a16:creationId xmlns:a16="http://schemas.microsoft.com/office/drawing/2014/main" id="{C810FC02-1017-4678-B751-DB5845F62959}"/>
                </a:ext>
              </a:extLst>
            </p:cNvPr>
            <p:cNvSpPr>
              <a:spLocks/>
            </p:cNvSpPr>
            <p:nvPr userDrawn="1"/>
          </p:nvSpPr>
          <p:spPr>
            <a:xfrm>
              <a:off x="0" y="774700"/>
              <a:ext cx="495300" cy="57213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68"/>
            </a:p>
          </p:txBody>
        </p:sp>
      </p:grpSp>
      <p:sp>
        <p:nvSpPr>
          <p:cNvPr id="2" name="Title 1"/>
          <p:cNvSpPr>
            <a:spLocks noGrp="1"/>
          </p:cNvSpPr>
          <p:nvPr>
            <p:ph type="title" hasCustomPrompt="1"/>
          </p:nvPr>
        </p:nvSpPr>
        <p:spPr/>
        <p:txBody>
          <a:bodyPr/>
          <a:lstStyle>
            <a:lvl1pPr>
              <a:defRPr/>
            </a:lvl1pPr>
          </a:lstStyle>
          <a:p>
            <a:r>
              <a:rPr lang="en-US" dirty="0"/>
              <a:t>PPT Slide with Two Columns of Bullets</a:t>
            </a:r>
          </a:p>
        </p:txBody>
      </p:sp>
      <p:sp>
        <p:nvSpPr>
          <p:cNvPr id="7" name="Slide Number Placeholder 6"/>
          <p:cNvSpPr>
            <a:spLocks noGrp="1"/>
          </p:cNvSpPr>
          <p:nvPr>
            <p:ph type="sldNum" sz="quarter" idx="12"/>
          </p:nvPr>
        </p:nvSpPr>
        <p:spPr/>
        <p:txBody>
          <a:bodyPr/>
          <a:lstStyle/>
          <a:p>
            <a:fld id="{AFB4637D-E648-4D47-95AC-4BFF987C325D}" type="slidenum">
              <a:rPr lang="en-US" smtClean="0"/>
              <a:t>‹#›</a:t>
            </a:fld>
            <a:endParaRPr lang="en-US" dirty="0"/>
          </a:p>
        </p:txBody>
      </p:sp>
    </p:spTree>
    <p:custDataLst>
      <p:tags r:id="rId1"/>
    </p:custDataLst>
    <p:extLst>
      <p:ext uri="{BB962C8B-B14F-4D97-AF65-F5344CB8AC3E}">
        <p14:creationId xmlns:p14="http://schemas.microsoft.com/office/powerpoint/2010/main" val="27816636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_Two Bulleted Lists">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62326CE5-7B79-4D0F-BE25-0C7C6EF3F186}"/>
              </a:ext>
            </a:extLst>
          </p:cNvPr>
          <p:cNvGrpSpPr/>
          <p:nvPr/>
        </p:nvGrpSpPr>
        <p:grpSpPr>
          <a:xfrm>
            <a:off x="0" y="759278"/>
            <a:ext cx="5476434" cy="5607453"/>
            <a:chOff x="0" y="774700"/>
            <a:chExt cx="5588000" cy="5721350"/>
          </a:xfrm>
          <a:solidFill>
            <a:schemeClr val="accent3"/>
          </a:solidFill>
        </p:grpSpPr>
        <p:sp>
          <p:nvSpPr>
            <p:cNvPr id="9" name="Flowchart: Delay 8">
              <a:extLst>
                <a:ext uri="{FF2B5EF4-FFF2-40B4-BE49-F238E27FC236}">
                  <a16:creationId xmlns:a16="http://schemas.microsoft.com/office/drawing/2014/main" id="{33270099-48B6-4148-B2DB-6DCFDB22C1A2}"/>
                </a:ext>
              </a:extLst>
            </p:cNvPr>
            <p:cNvSpPr>
              <a:spLocks/>
            </p:cNvSpPr>
            <p:nvPr userDrawn="1"/>
          </p:nvSpPr>
          <p:spPr>
            <a:xfrm>
              <a:off x="463550" y="774700"/>
              <a:ext cx="5124450" cy="5721350"/>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68"/>
            </a:p>
          </p:txBody>
        </p:sp>
        <p:sp>
          <p:nvSpPr>
            <p:cNvPr id="5" name="Rectangle 4">
              <a:extLst>
                <a:ext uri="{FF2B5EF4-FFF2-40B4-BE49-F238E27FC236}">
                  <a16:creationId xmlns:a16="http://schemas.microsoft.com/office/drawing/2014/main" id="{C810FC02-1017-4678-B751-DB5845F62959}"/>
                </a:ext>
              </a:extLst>
            </p:cNvPr>
            <p:cNvSpPr>
              <a:spLocks/>
            </p:cNvSpPr>
            <p:nvPr userDrawn="1"/>
          </p:nvSpPr>
          <p:spPr>
            <a:xfrm>
              <a:off x="0" y="774700"/>
              <a:ext cx="495300" cy="57213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68"/>
            </a:p>
          </p:txBody>
        </p:sp>
      </p:grpSp>
      <p:sp>
        <p:nvSpPr>
          <p:cNvPr id="2" name="Title 1"/>
          <p:cNvSpPr>
            <a:spLocks noGrp="1"/>
          </p:cNvSpPr>
          <p:nvPr>
            <p:ph type="title" hasCustomPrompt="1"/>
          </p:nvPr>
        </p:nvSpPr>
        <p:spPr/>
        <p:txBody>
          <a:bodyPr/>
          <a:lstStyle>
            <a:lvl1pPr>
              <a:defRPr/>
            </a:lvl1pPr>
          </a:lstStyle>
          <a:p>
            <a:r>
              <a:rPr lang="en-US" dirty="0"/>
              <a:t>PPT Slide with Two Columns of Bullets</a:t>
            </a:r>
          </a:p>
        </p:txBody>
      </p:sp>
      <p:sp>
        <p:nvSpPr>
          <p:cNvPr id="7" name="Slide Number Placeholder 6"/>
          <p:cNvSpPr>
            <a:spLocks noGrp="1"/>
          </p:cNvSpPr>
          <p:nvPr>
            <p:ph type="sldNum" sz="quarter" idx="12"/>
          </p:nvPr>
        </p:nvSpPr>
        <p:spPr/>
        <p:txBody>
          <a:bodyPr/>
          <a:lstStyle/>
          <a:p>
            <a:fld id="{AFB4637D-E648-4D47-95AC-4BFF987C325D}" type="slidenum">
              <a:rPr lang="en-US" smtClean="0"/>
              <a:t>‹#›</a:t>
            </a:fld>
            <a:endParaRPr lang="en-US" dirty="0"/>
          </a:p>
        </p:txBody>
      </p:sp>
    </p:spTree>
    <p:custDataLst>
      <p:tags r:id="rId1"/>
    </p:custDataLst>
    <p:extLst>
      <p:ext uri="{BB962C8B-B14F-4D97-AF65-F5344CB8AC3E}">
        <p14:creationId xmlns:p14="http://schemas.microsoft.com/office/powerpoint/2010/main" val="28746590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_Two Bulleted Lists">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62326CE5-7B79-4D0F-BE25-0C7C6EF3F186}"/>
              </a:ext>
            </a:extLst>
          </p:cNvPr>
          <p:cNvGrpSpPr/>
          <p:nvPr/>
        </p:nvGrpSpPr>
        <p:grpSpPr>
          <a:xfrm>
            <a:off x="0" y="759278"/>
            <a:ext cx="5476434" cy="5607453"/>
            <a:chOff x="0" y="774700"/>
            <a:chExt cx="5588000" cy="5721350"/>
          </a:xfrm>
          <a:solidFill>
            <a:schemeClr val="accent5"/>
          </a:solidFill>
        </p:grpSpPr>
        <p:sp>
          <p:nvSpPr>
            <p:cNvPr id="9" name="Flowchart: Delay 8">
              <a:extLst>
                <a:ext uri="{FF2B5EF4-FFF2-40B4-BE49-F238E27FC236}">
                  <a16:creationId xmlns:a16="http://schemas.microsoft.com/office/drawing/2014/main" id="{33270099-48B6-4148-B2DB-6DCFDB22C1A2}"/>
                </a:ext>
              </a:extLst>
            </p:cNvPr>
            <p:cNvSpPr>
              <a:spLocks/>
            </p:cNvSpPr>
            <p:nvPr userDrawn="1"/>
          </p:nvSpPr>
          <p:spPr>
            <a:xfrm>
              <a:off x="463550" y="774700"/>
              <a:ext cx="5124450" cy="5721350"/>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68"/>
            </a:p>
          </p:txBody>
        </p:sp>
        <p:sp>
          <p:nvSpPr>
            <p:cNvPr id="5" name="Rectangle 4">
              <a:extLst>
                <a:ext uri="{FF2B5EF4-FFF2-40B4-BE49-F238E27FC236}">
                  <a16:creationId xmlns:a16="http://schemas.microsoft.com/office/drawing/2014/main" id="{C810FC02-1017-4678-B751-DB5845F62959}"/>
                </a:ext>
              </a:extLst>
            </p:cNvPr>
            <p:cNvSpPr>
              <a:spLocks/>
            </p:cNvSpPr>
            <p:nvPr userDrawn="1"/>
          </p:nvSpPr>
          <p:spPr>
            <a:xfrm>
              <a:off x="0" y="774700"/>
              <a:ext cx="495300" cy="57213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68"/>
            </a:p>
          </p:txBody>
        </p:sp>
      </p:grpSp>
      <p:sp>
        <p:nvSpPr>
          <p:cNvPr id="2" name="Title 1"/>
          <p:cNvSpPr>
            <a:spLocks noGrp="1"/>
          </p:cNvSpPr>
          <p:nvPr>
            <p:ph type="title" hasCustomPrompt="1"/>
          </p:nvPr>
        </p:nvSpPr>
        <p:spPr/>
        <p:txBody>
          <a:bodyPr/>
          <a:lstStyle>
            <a:lvl1pPr>
              <a:defRPr/>
            </a:lvl1pPr>
          </a:lstStyle>
          <a:p>
            <a:r>
              <a:rPr lang="en-US" dirty="0"/>
              <a:t>PPT Slide with Two Columns of Bullets</a:t>
            </a:r>
          </a:p>
        </p:txBody>
      </p:sp>
      <p:sp>
        <p:nvSpPr>
          <p:cNvPr id="7" name="Slide Number Placeholder 6"/>
          <p:cNvSpPr>
            <a:spLocks noGrp="1"/>
          </p:cNvSpPr>
          <p:nvPr>
            <p:ph type="sldNum" sz="quarter" idx="12"/>
          </p:nvPr>
        </p:nvSpPr>
        <p:spPr/>
        <p:txBody>
          <a:bodyPr/>
          <a:lstStyle/>
          <a:p>
            <a:fld id="{AFB4637D-E648-4D47-95AC-4BFF987C325D}" type="slidenum">
              <a:rPr lang="en-US" smtClean="0"/>
              <a:t>‹#›</a:t>
            </a:fld>
            <a:endParaRPr lang="en-US" dirty="0"/>
          </a:p>
        </p:txBody>
      </p:sp>
    </p:spTree>
    <p:custDataLst>
      <p:tags r:id="rId1"/>
    </p:custDataLst>
    <p:extLst>
      <p:ext uri="{BB962C8B-B14F-4D97-AF65-F5344CB8AC3E}">
        <p14:creationId xmlns:p14="http://schemas.microsoft.com/office/powerpoint/2010/main" val="558405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4_Two Bulleted Lists">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62326CE5-7B79-4D0F-BE25-0C7C6EF3F186}"/>
              </a:ext>
            </a:extLst>
          </p:cNvPr>
          <p:cNvGrpSpPr/>
          <p:nvPr/>
        </p:nvGrpSpPr>
        <p:grpSpPr>
          <a:xfrm>
            <a:off x="0" y="759278"/>
            <a:ext cx="5476434" cy="5607453"/>
            <a:chOff x="0" y="774700"/>
            <a:chExt cx="5588000" cy="5721350"/>
          </a:xfrm>
          <a:solidFill>
            <a:schemeClr val="accent5">
              <a:lumMod val="60000"/>
              <a:lumOff val="40000"/>
            </a:schemeClr>
          </a:solidFill>
        </p:grpSpPr>
        <p:sp>
          <p:nvSpPr>
            <p:cNvPr id="9" name="Flowchart: Delay 8">
              <a:extLst>
                <a:ext uri="{FF2B5EF4-FFF2-40B4-BE49-F238E27FC236}">
                  <a16:creationId xmlns:a16="http://schemas.microsoft.com/office/drawing/2014/main" id="{33270099-48B6-4148-B2DB-6DCFDB22C1A2}"/>
                </a:ext>
              </a:extLst>
            </p:cNvPr>
            <p:cNvSpPr>
              <a:spLocks/>
            </p:cNvSpPr>
            <p:nvPr userDrawn="1"/>
          </p:nvSpPr>
          <p:spPr>
            <a:xfrm>
              <a:off x="463550" y="774700"/>
              <a:ext cx="5124450" cy="5721350"/>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68"/>
            </a:p>
          </p:txBody>
        </p:sp>
        <p:sp>
          <p:nvSpPr>
            <p:cNvPr id="5" name="Rectangle 4">
              <a:extLst>
                <a:ext uri="{FF2B5EF4-FFF2-40B4-BE49-F238E27FC236}">
                  <a16:creationId xmlns:a16="http://schemas.microsoft.com/office/drawing/2014/main" id="{C810FC02-1017-4678-B751-DB5845F62959}"/>
                </a:ext>
              </a:extLst>
            </p:cNvPr>
            <p:cNvSpPr>
              <a:spLocks/>
            </p:cNvSpPr>
            <p:nvPr userDrawn="1"/>
          </p:nvSpPr>
          <p:spPr>
            <a:xfrm>
              <a:off x="0" y="774700"/>
              <a:ext cx="495300" cy="57213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68"/>
            </a:p>
          </p:txBody>
        </p:sp>
      </p:grpSp>
      <p:sp>
        <p:nvSpPr>
          <p:cNvPr id="2" name="Title 1"/>
          <p:cNvSpPr>
            <a:spLocks noGrp="1"/>
          </p:cNvSpPr>
          <p:nvPr>
            <p:ph type="title" hasCustomPrompt="1"/>
          </p:nvPr>
        </p:nvSpPr>
        <p:spPr/>
        <p:txBody>
          <a:bodyPr/>
          <a:lstStyle>
            <a:lvl1pPr>
              <a:defRPr/>
            </a:lvl1pPr>
          </a:lstStyle>
          <a:p>
            <a:r>
              <a:rPr lang="en-US" dirty="0"/>
              <a:t>PPT Slide with Two Columns of Bullets</a:t>
            </a:r>
          </a:p>
        </p:txBody>
      </p:sp>
      <p:sp>
        <p:nvSpPr>
          <p:cNvPr id="7" name="Slide Number Placeholder 6"/>
          <p:cNvSpPr>
            <a:spLocks noGrp="1"/>
          </p:cNvSpPr>
          <p:nvPr>
            <p:ph type="sldNum" sz="quarter" idx="12"/>
          </p:nvPr>
        </p:nvSpPr>
        <p:spPr/>
        <p:txBody>
          <a:bodyPr/>
          <a:lstStyle/>
          <a:p>
            <a:fld id="{AFB4637D-E648-4D47-95AC-4BFF987C325D}" type="slidenum">
              <a:rPr lang="en-US" smtClean="0"/>
              <a:t>‹#›</a:t>
            </a:fld>
            <a:endParaRPr lang="en-US" dirty="0"/>
          </a:p>
        </p:txBody>
      </p:sp>
    </p:spTree>
    <p:custDataLst>
      <p:tags r:id="rId1"/>
    </p:custDataLst>
    <p:extLst>
      <p:ext uri="{BB962C8B-B14F-4D97-AF65-F5344CB8AC3E}">
        <p14:creationId xmlns:p14="http://schemas.microsoft.com/office/powerpoint/2010/main" val="35516182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5_Two Bulleted Lists">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62326CE5-7B79-4D0F-BE25-0C7C6EF3F186}"/>
              </a:ext>
            </a:extLst>
          </p:cNvPr>
          <p:cNvGrpSpPr/>
          <p:nvPr/>
        </p:nvGrpSpPr>
        <p:grpSpPr>
          <a:xfrm>
            <a:off x="0" y="759278"/>
            <a:ext cx="5476434" cy="5607453"/>
            <a:chOff x="0" y="774700"/>
            <a:chExt cx="5588000" cy="5721350"/>
          </a:xfrm>
          <a:solidFill>
            <a:schemeClr val="accent4"/>
          </a:solidFill>
        </p:grpSpPr>
        <p:sp>
          <p:nvSpPr>
            <p:cNvPr id="9" name="Flowchart: Delay 8">
              <a:extLst>
                <a:ext uri="{FF2B5EF4-FFF2-40B4-BE49-F238E27FC236}">
                  <a16:creationId xmlns:a16="http://schemas.microsoft.com/office/drawing/2014/main" id="{33270099-48B6-4148-B2DB-6DCFDB22C1A2}"/>
                </a:ext>
              </a:extLst>
            </p:cNvPr>
            <p:cNvSpPr>
              <a:spLocks/>
            </p:cNvSpPr>
            <p:nvPr userDrawn="1"/>
          </p:nvSpPr>
          <p:spPr>
            <a:xfrm>
              <a:off x="463550" y="774700"/>
              <a:ext cx="5124450" cy="5721350"/>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68"/>
            </a:p>
          </p:txBody>
        </p:sp>
        <p:sp>
          <p:nvSpPr>
            <p:cNvPr id="5" name="Rectangle 4">
              <a:extLst>
                <a:ext uri="{FF2B5EF4-FFF2-40B4-BE49-F238E27FC236}">
                  <a16:creationId xmlns:a16="http://schemas.microsoft.com/office/drawing/2014/main" id="{C810FC02-1017-4678-B751-DB5845F62959}"/>
                </a:ext>
              </a:extLst>
            </p:cNvPr>
            <p:cNvSpPr>
              <a:spLocks/>
            </p:cNvSpPr>
            <p:nvPr userDrawn="1"/>
          </p:nvSpPr>
          <p:spPr>
            <a:xfrm>
              <a:off x="0" y="774700"/>
              <a:ext cx="495300" cy="57213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68"/>
            </a:p>
          </p:txBody>
        </p:sp>
      </p:grpSp>
      <p:sp>
        <p:nvSpPr>
          <p:cNvPr id="2" name="Title 1"/>
          <p:cNvSpPr>
            <a:spLocks noGrp="1"/>
          </p:cNvSpPr>
          <p:nvPr>
            <p:ph type="title" hasCustomPrompt="1"/>
          </p:nvPr>
        </p:nvSpPr>
        <p:spPr/>
        <p:txBody>
          <a:bodyPr/>
          <a:lstStyle>
            <a:lvl1pPr>
              <a:defRPr/>
            </a:lvl1pPr>
          </a:lstStyle>
          <a:p>
            <a:r>
              <a:rPr lang="en-US" dirty="0"/>
              <a:t>PPT Slide with Two Columns of Bullets</a:t>
            </a:r>
          </a:p>
        </p:txBody>
      </p:sp>
      <p:sp>
        <p:nvSpPr>
          <p:cNvPr id="7" name="Slide Number Placeholder 6"/>
          <p:cNvSpPr>
            <a:spLocks noGrp="1"/>
          </p:cNvSpPr>
          <p:nvPr>
            <p:ph type="sldNum" sz="quarter" idx="12"/>
          </p:nvPr>
        </p:nvSpPr>
        <p:spPr/>
        <p:txBody>
          <a:bodyPr/>
          <a:lstStyle/>
          <a:p>
            <a:fld id="{AFB4637D-E648-4D47-95AC-4BFF987C325D}" type="slidenum">
              <a:rPr lang="en-US" smtClean="0"/>
              <a:t>‹#›</a:t>
            </a:fld>
            <a:endParaRPr lang="en-US" dirty="0"/>
          </a:p>
        </p:txBody>
      </p:sp>
    </p:spTree>
    <p:custDataLst>
      <p:tags r:id="rId1"/>
    </p:custDataLst>
    <p:extLst>
      <p:ext uri="{BB962C8B-B14F-4D97-AF65-F5344CB8AC3E}">
        <p14:creationId xmlns:p14="http://schemas.microsoft.com/office/powerpoint/2010/main" val="33220296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6_Two Bulleted Lists">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62326CE5-7B79-4D0F-BE25-0C7C6EF3F186}"/>
              </a:ext>
            </a:extLst>
          </p:cNvPr>
          <p:cNvGrpSpPr/>
          <p:nvPr/>
        </p:nvGrpSpPr>
        <p:grpSpPr>
          <a:xfrm>
            <a:off x="0" y="759278"/>
            <a:ext cx="5476434" cy="5607453"/>
            <a:chOff x="0" y="774700"/>
            <a:chExt cx="5588000" cy="5721350"/>
          </a:xfrm>
          <a:solidFill>
            <a:schemeClr val="accent1">
              <a:lumMod val="60000"/>
              <a:lumOff val="40000"/>
            </a:schemeClr>
          </a:solidFill>
        </p:grpSpPr>
        <p:sp>
          <p:nvSpPr>
            <p:cNvPr id="9" name="Flowchart: Delay 8">
              <a:extLst>
                <a:ext uri="{FF2B5EF4-FFF2-40B4-BE49-F238E27FC236}">
                  <a16:creationId xmlns:a16="http://schemas.microsoft.com/office/drawing/2014/main" id="{33270099-48B6-4148-B2DB-6DCFDB22C1A2}"/>
                </a:ext>
              </a:extLst>
            </p:cNvPr>
            <p:cNvSpPr>
              <a:spLocks/>
            </p:cNvSpPr>
            <p:nvPr userDrawn="1"/>
          </p:nvSpPr>
          <p:spPr>
            <a:xfrm>
              <a:off x="463550" y="774700"/>
              <a:ext cx="5124450" cy="5721350"/>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68"/>
            </a:p>
          </p:txBody>
        </p:sp>
        <p:sp>
          <p:nvSpPr>
            <p:cNvPr id="5" name="Rectangle 4">
              <a:extLst>
                <a:ext uri="{FF2B5EF4-FFF2-40B4-BE49-F238E27FC236}">
                  <a16:creationId xmlns:a16="http://schemas.microsoft.com/office/drawing/2014/main" id="{C810FC02-1017-4678-B751-DB5845F62959}"/>
                </a:ext>
              </a:extLst>
            </p:cNvPr>
            <p:cNvSpPr>
              <a:spLocks/>
            </p:cNvSpPr>
            <p:nvPr userDrawn="1"/>
          </p:nvSpPr>
          <p:spPr>
            <a:xfrm>
              <a:off x="0" y="774700"/>
              <a:ext cx="495300" cy="57213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68"/>
            </a:p>
          </p:txBody>
        </p:sp>
      </p:grpSp>
      <p:sp>
        <p:nvSpPr>
          <p:cNvPr id="2" name="Title 1"/>
          <p:cNvSpPr>
            <a:spLocks noGrp="1"/>
          </p:cNvSpPr>
          <p:nvPr>
            <p:ph type="title" hasCustomPrompt="1"/>
          </p:nvPr>
        </p:nvSpPr>
        <p:spPr/>
        <p:txBody>
          <a:bodyPr/>
          <a:lstStyle>
            <a:lvl1pPr>
              <a:defRPr/>
            </a:lvl1pPr>
          </a:lstStyle>
          <a:p>
            <a:r>
              <a:rPr lang="en-US" dirty="0"/>
              <a:t>PPT Slide with Two Columns of Bullets</a:t>
            </a:r>
          </a:p>
        </p:txBody>
      </p:sp>
      <p:sp>
        <p:nvSpPr>
          <p:cNvPr id="7" name="Slide Number Placeholder 6"/>
          <p:cNvSpPr>
            <a:spLocks noGrp="1"/>
          </p:cNvSpPr>
          <p:nvPr>
            <p:ph type="sldNum" sz="quarter" idx="12"/>
          </p:nvPr>
        </p:nvSpPr>
        <p:spPr/>
        <p:txBody>
          <a:bodyPr/>
          <a:lstStyle/>
          <a:p>
            <a:fld id="{AFB4637D-E648-4D47-95AC-4BFF987C325D}" type="slidenum">
              <a:rPr lang="en-US" smtClean="0"/>
              <a:t>‹#›</a:t>
            </a:fld>
            <a:endParaRPr lang="en-US" dirty="0"/>
          </a:p>
        </p:txBody>
      </p:sp>
    </p:spTree>
    <p:custDataLst>
      <p:tags r:id="rId1"/>
    </p:custDataLst>
    <p:extLst>
      <p:ext uri="{BB962C8B-B14F-4D97-AF65-F5344CB8AC3E}">
        <p14:creationId xmlns:p14="http://schemas.microsoft.com/office/powerpoint/2010/main" val="16293052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7_Two Bulleted Lists">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62326CE5-7B79-4D0F-BE25-0C7C6EF3F186}"/>
              </a:ext>
            </a:extLst>
          </p:cNvPr>
          <p:cNvGrpSpPr/>
          <p:nvPr/>
        </p:nvGrpSpPr>
        <p:grpSpPr>
          <a:xfrm>
            <a:off x="0" y="759278"/>
            <a:ext cx="5476434" cy="5607453"/>
            <a:chOff x="0" y="774700"/>
            <a:chExt cx="5588000" cy="5721350"/>
          </a:xfrm>
          <a:solidFill>
            <a:schemeClr val="tx2">
              <a:lumMod val="50000"/>
            </a:schemeClr>
          </a:solidFill>
        </p:grpSpPr>
        <p:sp>
          <p:nvSpPr>
            <p:cNvPr id="9" name="Flowchart: Delay 8">
              <a:extLst>
                <a:ext uri="{FF2B5EF4-FFF2-40B4-BE49-F238E27FC236}">
                  <a16:creationId xmlns:a16="http://schemas.microsoft.com/office/drawing/2014/main" id="{33270099-48B6-4148-B2DB-6DCFDB22C1A2}"/>
                </a:ext>
              </a:extLst>
            </p:cNvPr>
            <p:cNvSpPr>
              <a:spLocks/>
            </p:cNvSpPr>
            <p:nvPr userDrawn="1"/>
          </p:nvSpPr>
          <p:spPr>
            <a:xfrm>
              <a:off x="463550" y="774700"/>
              <a:ext cx="5124450" cy="5721350"/>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68"/>
            </a:p>
          </p:txBody>
        </p:sp>
        <p:sp>
          <p:nvSpPr>
            <p:cNvPr id="5" name="Rectangle 4">
              <a:extLst>
                <a:ext uri="{FF2B5EF4-FFF2-40B4-BE49-F238E27FC236}">
                  <a16:creationId xmlns:a16="http://schemas.microsoft.com/office/drawing/2014/main" id="{C810FC02-1017-4678-B751-DB5845F62959}"/>
                </a:ext>
              </a:extLst>
            </p:cNvPr>
            <p:cNvSpPr>
              <a:spLocks/>
            </p:cNvSpPr>
            <p:nvPr userDrawn="1"/>
          </p:nvSpPr>
          <p:spPr>
            <a:xfrm>
              <a:off x="0" y="774700"/>
              <a:ext cx="495300" cy="57213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68"/>
            </a:p>
          </p:txBody>
        </p:sp>
      </p:grpSp>
      <p:sp>
        <p:nvSpPr>
          <p:cNvPr id="2" name="Title 1"/>
          <p:cNvSpPr>
            <a:spLocks noGrp="1"/>
          </p:cNvSpPr>
          <p:nvPr>
            <p:ph type="title" hasCustomPrompt="1"/>
          </p:nvPr>
        </p:nvSpPr>
        <p:spPr/>
        <p:txBody>
          <a:bodyPr/>
          <a:lstStyle>
            <a:lvl1pPr>
              <a:defRPr/>
            </a:lvl1pPr>
          </a:lstStyle>
          <a:p>
            <a:r>
              <a:rPr lang="en-US" dirty="0"/>
              <a:t>PPT Slide with Two Columns of Bullets</a:t>
            </a:r>
          </a:p>
        </p:txBody>
      </p:sp>
      <p:sp>
        <p:nvSpPr>
          <p:cNvPr id="7" name="Slide Number Placeholder 6"/>
          <p:cNvSpPr>
            <a:spLocks noGrp="1"/>
          </p:cNvSpPr>
          <p:nvPr>
            <p:ph type="sldNum" sz="quarter" idx="12"/>
          </p:nvPr>
        </p:nvSpPr>
        <p:spPr/>
        <p:txBody>
          <a:bodyPr/>
          <a:lstStyle/>
          <a:p>
            <a:fld id="{AFB4637D-E648-4D47-95AC-4BFF987C325D}" type="slidenum">
              <a:rPr lang="en-US" smtClean="0"/>
              <a:t>‹#›</a:t>
            </a:fld>
            <a:endParaRPr lang="en-US" dirty="0"/>
          </a:p>
        </p:txBody>
      </p:sp>
    </p:spTree>
    <p:custDataLst>
      <p:tags r:id="rId1"/>
    </p:custDataLst>
    <p:extLst>
      <p:ext uri="{BB962C8B-B14F-4D97-AF65-F5344CB8AC3E}">
        <p14:creationId xmlns:p14="http://schemas.microsoft.com/office/powerpoint/2010/main" val="26152812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8_Two Bulleted Lists">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62326CE5-7B79-4D0F-BE25-0C7C6EF3F186}"/>
              </a:ext>
            </a:extLst>
          </p:cNvPr>
          <p:cNvGrpSpPr/>
          <p:nvPr/>
        </p:nvGrpSpPr>
        <p:grpSpPr>
          <a:xfrm>
            <a:off x="0" y="759278"/>
            <a:ext cx="5476434" cy="5607453"/>
            <a:chOff x="0" y="774700"/>
            <a:chExt cx="5588000" cy="5721350"/>
          </a:xfrm>
          <a:solidFill>
            <a:schemeClr val="bg1">
              <a:lumMod val="50000"/>
            </a:schemeClr>
          </a:solidFill>
        </p:grpSpPr>
        <p:sp>
          <p:nvSpPr>
            <p:cNvPr id="9" name="Flowchart: Delay 8">
              <a:extLst>
                <a:ext uri="{FF2B5EF4-FFF2-40B4-BE49-F238E27FC236}">
                  <a16:creationId xmlns:a16="http://schemas.microsoft.com/office/drawing/2014/main" id="{33270099-48B6-4148-B2DB-6DCFDB22C1A2}"/>
                </a:ext>
              </a:extLst>
            </p:cNvPr>
            <p:cNvSpPr>
              <a:spLocks/>
            </p:cNvSpPr>
            <p:nvPr userDrawn="1"/>
          </p:nvSpPr>
          <p:spPr>
            <a:xfrm>
              <a:off x="463550" y="774700"/>
              <a:ext cx="5124450" cy="5721350"/>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68"/>
            </a:p>
          </p:txBody>
        </p:sp>
        <p:sp>
          <p:nvSpPr>
            <p:cNvPr id="5" name="Rectangle 4">
              <a:extLst>
                <a:ext uri="{FF2B5EF4-FFF2-40B4-BE49-F238E27FC236}">
                  <a16:creationId xmlns:a16="http://schemas.microsoft.com/office/drawing/2014/main" id="{C810FC02-1017-4678-B751-DB5845F62959}"/>
                </a:ext>
              </a:extLst>
            </p:cNvPr>
            <p:cNvSpPr>
              <a:spLocks/>
            </p:cNvSpPr>
            <p:nvPr userDrawn="1"/>
          </p:nvSpPr>
          <p:spPr>
            <a:xfrm>
              <a:off x="0" y="774700"/>
              <a:ext cx="495300" cy="57213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68"/>
            </a:p>
          </p:txBody>
        </p:sp>
      </p:grpSp>
      <p:sp>
        <p:nvSpPr>
          <p:cNvPr id="2" name="Title 1"/>
          <p:cNvSpPr>
            <a:spLocks noGrp="1"/>
          </p:cNvSpPr>
          <p:nvPr>
            <p:ph type="title" hasCustomPrompt="1"/>
          </p:nvPr>
        </p:nvSpPr>
        <p:spPr/>
        <p:txBody>
          <a:bodyPr/>
          <a:lstStyle>
            <a:lvl1pPr>
              <a:defRPr/>
            </a:lvl1pPr>
          </a:lstStyle>
          <a:p>
            <a:r>
              <a:rPr lang="en-US" dirty="0"/>
              <a:t>PPT Slide with Two Columns of Bullets</a:t>
            </a:r>
          </a:p>
        </p:txBody>
      </p:sp>
      <p:sp>
        <p:nvSpPr>
          <p:cNvPr id="7" name="Slide Number Placeholder 6"/>
          <p:cNvSpPr>
            <a:spLocks noGrp="1"/>
          </p:cNvSpPr>
          <p:nvPr>
            <p:ph type="sldNum" sz="quarter" idx="12"/>
          </p:nvPr>
        </p:nvSpPr>
        <p:spPr/>
        <p:txBody>
          <a:bodyPr/>
          <a:lstStyle/>
          <a:p>
            <a:fld id="{AFB4637D-E648-4D47-95AC-4BFF987C325D}" type="slidenum">
              <a:rPr lang="en-US" smtClean="0"/>
              <a:t>‹#›</a:t>
            </a:fld>
            <a:endParaRPr lang="en-US" dirty="0"/>
          </a:p>
        </p:txBody>
      </p:sp>
    </p:spTree>
    <p:custDataLst>
      <p:tags r:id="rId1"/>
    </p:custDataLst>
    <p:extLst>
      <p:ext uri="{BB962C8B-B14F-4D97-AF65-F5344CB8AC3E}">
        <p14:creationId xmlns:p14="http://schemas.microsoft.com/office/powerpoint/2010/main" val="22351081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Photo and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PPT Slide with a Photo and Bulleted List</a:t>
            </a:r>
          </a:p>
        </p:txBody>
      </p:sp>
      <p:sp>
        <p:nvSpPr>
          <p:cNvPr id="4" name="Content Placeholder 3"/>
          <p:cNvSpPr>
            <a:spLocks noGrp="1"/>
          </p:cNvSpPr>
          <p:nvPr>
            <p:ph sz="half" idx="2" hasCustomPrompt="1"/>
          </p:nvPr>
        </p:nvSpPr>
        <p:spPr>
          <a:xfrm>
            <a:off x="4671149" y="1789282"/>
            <a:ext cx="3674190" cy="4264714"/>
          </a:xfrm>
        </p:spPr>
        <p:txBody>
          <a:bodyPr/>
          <a:lstStyle>
            <a:lvl1pPr>
              <a:defRPr/>
            </a:lvl1pPr>
          </a:lstStyle>
          <a:p>
            <a:pPr lvl="0"/>
            <a:r>
              <a:rPr lang="en-US" dirty="0"/>
              <a:t>Bullet Points</a:t>
            </a:r>
          </a:p>
        </p:txBody>
      </p:sp>
      <p:sp>
        <p:nvSpPr>
          <p:cNvPr id="7" name="Slide Number Placeholder 6"/>
          <p:cNvSpPr>
            <a:spLocks noGrp="1"/>
          </p:cNvSpPr>
          <p:nvPr>
            <p:ph type="sldNum" sz="quarter" idx="12"/>
          </p:nvPr>
        </p:nvSpPr>
        <p:spPr/>
        <p:txBody>
          <a:bodyPr/>
          <a:lstStyle/>
          <a:p>
            <a:fld id="{AFB4637D-E648-4D47-95AC-4BFF987C325D}" type="slidenum">
              <a:rPr lang="en-US" smtClean="0"/>
              <a:t>‹#›</a:t>
            </a:fld>
            <a:endParaRPr lang="en-US" dirty="0"/>
          </a:p>
        </p:txBody>
      </p:sp>
      <p:cxnSp>
        <p:nvCxnSpPr>
          <p:cNvPr id="8" name="Straight Connector 7">
            <a:extLst>
              <a:ext uri="{FF2B5EF4-FFF2-40B4-BE49-F238E27FC236}">
                <a16:creationId xmlns:a16="http://schemas.microsoft.com/office/drawing/2014/main" id="{16F40D2F-8472-4CB4-86A9-EEC2FCE2C11B}"/>
              </a:ext>
            </a:extLst>
          </p:cNvPr>
          <p:cNvCxnSpPr/>
          <p:nvPr/>
        </p:nvCxnSpPr>
        <p:spPr>
          <a:xfrm>
            <a:off x="4480719" y="1789282"/>
            <a:ext cx="0" cy="426471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 name="Picture Placeholder 5">
            <a:extLst>
              <a:ext uri="{FF2B5EF4-FFF2-40B4-BE49-F238E27FC236}">
                <a16:creationId xmlns:a16="http://schemas.microsoft.com/office/drawing/2014/main" id="{60E5BCC9-E1AF-48AB-9C7C-0E51FB051B79}"/>
              </a:ext>
            </a:extLst>
          </p:cNvPr>
          <p:cNvSpPr>
            <a:spLocks noGrp="1"/>
          </p:cNvSpPr>
          <p:nvPr>
            <p:ph type="pic" sz="quarter" idx="13"/>
          </p:nvPr>
        </p:nvSpPr>
        <p:spPr>
          <a:xfrm>
            <a:off x="616099" y="1789281"/>
            <a:ext cx="3674812" cy="3892605"/>
          </a:xfrm>
        </p:spPr>
        <p:txBody>
          <a:bodyPr/>
          <a:lstStyle>
            <a:lvl1pPr marL="0" indent="0">
              <a:buNone/>
              <a:defRPr/>
            </a:lvl1pPr>
          </a:lstStyle>
          <a:p>
            <a:r>
              <a:rPr lang="en-US"/>
              <a:t>Click icon to add picture</a:t>
            </a:r>
            <a:endParaRPr lang="en-US" dirty="0"/>
          </a:p>
        </p:txBody>
      </p:sp>
      <p:sp>
        <p:nvSpPr>
          <p:cNvPr id="12" name="Text Placeholder 11">
            <a:extLst>
              <a:ext uri="{FF2B5EF4-FFF2-40B4-BE49-F238E27FC236}">
                <a16:creationId xmlns:a16="http://schemas.microsoft.com/office/drawing/2014/main" id="{D9BAE435-B4C5-4492-A5D7-C442FC8B4AF7}"/>
              </a:ext>
            </a:extLst>
          </p:cNvPr>
          <p:cNvSpPr>
            <a:spLocks noGrp="1"/>
          </p:cNvSpPr>
          <p:nvPr>
            <p:ph type="body" sz="quarter" idx="14" hasCustomPrompt="1"/>
          </p:nvPr>
        </p:nvSpPr>
        <p:spPr>
          <a:xfrm>
            <a:off x="616099" y="5771506"/>
            <a:ext cx="3685702" cy="282490"/>
          </a:xfrm>
        </p:spPr>
        <p:txBody>
          <a:bodyPr>
            <a:noAutofit/>
          </a:bodyPr>
          <a:lstStyle>
            <a:lvl1pPr marL="0" indent="0">
              <a:buNone/>
              <a:defRPr sz="980"/>
            </a:lvl1pPr>
            <a:lvl2pPr marL="448056" indent="0">
              <a:buNone/>
              <a:defRPr sz="980"/>
            </a:lvl2pPr>
            <a:lvl3pPr marL="896112" indent="0">
              <a:buNone/>
              <a:defRPr sz="980"/>
            </a:lvl3pPr>
            <a:lvl4pPr marL="1344168" indent="0">
              <a:buNone/>
              <a:defRPr sz="980"/>
            </a:lvl4pPr>
            <a:lvl5pPr marL="1792224" indent="0">
              <a:buNone/>
              <a:defRPr sz="980"/>
            </a:lvl5pPr>
          </a:lstStyle>
          <a:p>
            <a:pPr lvl="0"/>
            <a:r>
              <a:rPr lang="en-US" dirty="0"/>
              <a:t>Photo: credit/photographer</a:t>
            </a:r>
          </a:p>
        </p:txBody>
      </p:sp>
    </p:spTree>
    <p:custDataLst>
      <p:tags r:id="rId1"/>
    </p:custDataLst>
    <p:extLst>
      <p:ext uri="{BB962C8B-B14F-4D97-AF65-F5344CB8AC3E}">
        <p14:creationId xmlns:p14="http://schemas.microsoft.com/office/powerpoint/2010/main" val="8366177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7"/>
          <a:ext cx="1555" cy="1555"/>
        </p:xfrm>
        <a:graphic>
          <a:graphicData uri="http://schemas.openxmlformats.org/presentationml/2006/ole">
            <mc:AlternateContent xmlns:mc="http://schemas.openxmlformats.org/markup-compatibility/2006">
              <mc:Choice xmlns:v="urn:schemas-microsoft-com:vml" Requires="v">
                <p:oleObj spid="_x0000_s3170"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57" y="1557"/>
                        <a:ext cx="1555" cy="1555"/>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lvl1pPr>
              <a:defRPr>
                <a:latin typeface="Gill Sans MT" panose="020B0502020104020203" pitchFamily="34" charset="0"/>
                <a:sym typeface="Gill Sans MT" panose="020B0502020104020203" pitchFamily="34" charset="0"/>
              </a:defRPr>
            </a:lvl1pPr>
          </a:lstStyle>
          <a:p>
            <a:r>
              <a:rPr lang="en-US"/>
              <a:t>Click to edit Master title style</a:t>
            </a:r>
            <a:endParaRPr lang="x-none" dirty="0"/>
          </a:p>
        </p:txBody>
      </p:sp>
    </p:spTree>
    <p:extLst>
      <p:ext uri="{BB962C8B-B14F-4D97-AF65-F5344CB8AC3E}">
        <p14:creationId xmlns:p14="http://schemas.microsoft.com/office/powerpoint/2010/main" val="1407502392"/>
      </p:ext>
    </p:extLst>
  </p:cSld>
  <p:clrMapOvr>
    <a:masterClrMapping/>
  </p:clrMapOvr>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4036" y="183170"/>
            <a:ext cx="7729240" cy="416277"/>
          </a:xfrm>
        </p:spPr>
        <p:txBody>
          <a:bodyPr>
            <a:spAutoFit/>
          </a:bodyPr>
          <a:lstStyle>
            <a:lvl1pPr>
              <a:defRPr/>
            </a:lvl1pPr>
          </a:lstStyle>
          <a:p>
            <a:r>
              <a:rPr lang="en-US" dirty="0"/>
              <a:t>PPT Slide to Compare and Contrast</a:t>
            </a:r>
          </a:p>
        </p:txBody>
      </p:sp>
      <p:sp>
        <p:nvSpPr>
          <p:cNvPr id="3" name="Text Placeholder 2"/>
          <p:cNvSpPr>
            <a:spLocks noGrp="1"/>
          </p:cNvSpPr>
          <p:nvPr>
            <p:ph type="body" idx="1" hasCustomPrompt="1"/>
          </p:nvPr>
        </p:nvSpPr>
        <p:spPr>
          <a:xfrm>
            <a:off x="617267" y="1720697"/>
            <a:ext cx="3674190" cy="734508"/>
          </a:xfrm>
        </p:spPr>
        <p:txBody>
          <a:bodyPr anchor="b"/>
          <a:lstStyle>
            <a:lvl1pPr marL="0" indent="0">
              <a:buNone/>
              <a:defRPr sz="2352" b="1"/>
            </a:lvl1pPr>
            <a:lvl2pPr marL="448056" indent="0">
              <a:buNone/>
              <a:defRPr sz="1960" b="1"/>
            </a:lvl2pPr>
            <a:lvl3pPr marL="896112" indent="0">
              <a:buNone/>
              <a:defRPr sz="1764" b="1"/>
            </a:lvl3pPr>
            <a:lvl4pPr marL="1344168" indent="0">
              <a:buNone/>
              <a:defRPr sz="1568" b="1"/>
            </a:lvl4pPr>
            <a:lvl5pPr marL="1792224" indent="0">
              <a:buNone/>
              <a:defRPr sz="1568" b="1"/>
            </a:lvl5pPr>
            <a:lvl6pPr marL="2240280" indent="0">
              <a:buNone/>
              <a:defRPr sz="1568" b="1"/>
            </a:lvl6pPr>
            <a:lvl7pPr marL="2688336" indent="0">
              <a:buNone/>
              <a:defRPr sz="1568" b="1"/>
            </a:lvl7pPr>
            <a:lvl8pPr marL="3136392" indent="0">
              <a:buNone/>
              <a:defRPr sz="1568" b="1"/>
            </a:lvl8pPr>
            <a:lvl9pPr marL="3584448" indent="0">
              <a:buNone/>
              <a:defRPr sz="1568" b="1"/>
            </a:lvl9pPr>
          </a:lstStyle>
          <a:p>
            <a:pPr lvl="0"/>
            <a:r>
              <a:rPr lang="en-US" dirty="0"/>
              <a:t>Pro’s</a:t>
            </a:r>
          </a:p>
        </p:txBody>
      </p:sp>
      <p:sp>
        <p:nvSpPr>
          <p:cNvPr id="4" name="Content Placeholder 3"/>
          <p:cNvSpPr>
            <a:spLocks noGrp="1"/>
          </p:cNvSpPr>
          <p:nvPr>
            <p:ph sz="half" idx="2" hasCustomPrompt="1"/>
          </p:nvPr>
        </p:nvSpPr>
        <p:spPr>
          <a:xfrm>
            <a:off x="617267" y="2455206"/>
            <a:ext cx="3674190" cy="3611237"/>
          </a:xfrm>
        </p:spPr>
        <p:txBody>
          <a:bodyPr/>
          <a:lstStyle>
            <a:lvl1pPr>
              <a:defRPr/>
            </a:lvl1pPr>
          </a:lstStyle>
          <a:p>
            <a:pPr lvl="0"/>
            <a:r>
              <a:rPr lang="en-US" dirty="0"/>
              <a:t>Bullet Points</a:t>
            </a:r>
          </a:p>
        </p:txBody>
      </p:sp>
      <p:sp>
        <p:nvSpPr>
          <p:cNvPr id="5" name="Text Placeholder 4"/>
          <p:cNvSpPr>
            <a:spLocks noGrp="1"/>
          </p:cNvSpPr>
          <p:nvPr>
            <p:ph type="body" sz="quarter" idx="3" hasCustomPrompt="1"/>
          </p:nvPr>
        </p:nvSpPr>
        <p:spPr>
          <a:xfrm>
            <a:off x="4671149" y="1720697"/>
            <a:ext cx="3674190" cy="734508"/>
          </a:xfrm>
        </p:spPr>
        <p:txBody>
          <a:bodyPr anchor="b"/>
          <a:lstStyle>
            <a:lvl1pPr marL="0" indent="0">
              <a:buNone/>
              <a:defRPr sz="2352" b="1"/>
            </a:lvl1pPr>
            <a:lvl2pPr marL="448056" indent="0">
              <a:buNone/>
              <a:defRPr sz="1960" b="1"/>
            </a:lvl2pPr>
            <a:lvl3pPr marL="896112" indent="0">
              <a:buNone/>
              <a:defRPr sz="1764" b="1"/>
            </a:lvl3pPr>
            <a:lvl4pPr marL="1344168" indent="0">
              <a:buNone/>
              <a:defRPr sz="1568" b="1"/>
            </a:lvl4pPr>
            <a:lvl5pPr marL="1792224" indent="0">
              <a:buNone/>
              <a:defRPr sz="1568" b="1"/>
            </a:lvl5pPr>
            <a:lvl6pPr marL="2240280" indent="0">
              <a:buNone/>
              <a:defRPr sz="1568" b="1"/>
            </a:lvl6pPr>
            <a:lvl7pPr marL="2688336" indent="0">
              <a:buNone/>
              <a:defRPr sz="1568" b="1"/>
            </a:lvl7pPr>
            <a:lvl8pPr marL="3136392" indent="0">
              <a:buNone/>
              <a:defRPr sz="1568" b="1"/>
            </a:lvl8pPr>
            <a:lvl9pPr marL="3584448" indent="0">
              <a:buNone/>
              <a:defRPr sz="1568" b="1"/>
            </a:lvl9pPr>
          </a:lstStyle>
          <a:p>
            <a:pPr lvl="0"/>
            <a:r>
              <a:rPr lang="en-US" dirty="0"/>
              <a:t>Con’s</a:t>
            </a:r>
          </a:p>
        </p:txBody>
      </p:sp>
      <p:sp>
        <p:nvSpPr>
          <p:cNvPr id="6" name="Content Placeholder 5"/>
          <p:cNvSpPr>
            <a:spLocks noGrp="1"/>
          </p:cNvSpPr>
          <p:nvPr>
            <p:ph sz="quarter" idx="4" hasCustomPrompt="1"/>
          </p:nvPr>
        </p:nvSpPr>
        <p:spPr>
          <a:xfrm>
            <a:off x="4671149" y="2455206"/>
            <a:ext cx="3674190" cy="3611237"/>
          </a:xfrm>
        </p:spPr>
        <p:txBody>
          <a:bodyPr/>
          <a:lstStyle>
            <a:lvl1pPr>
              <a:defRPr/>
            </a:lvl1pPr>
          </a:lstStyle>
          <a:p>
            <a:pPr lvl="0"/>
            <a:r>
              <a:rPr lang="en-US" dirty="0"/>
              <a:t>Bullet Points</a:t>
            </a:r>
          </a:p>
        </p:txBody>
      </p:sp>
      <p:sp>
        <p:nvSpPr>
          <p:cNvPr id="9" name="Slide Number Placeholder 8"/>
          <p:cNvSpPr>
            <a:spLocks noGrp="1"/>
          </p:cNvSpPr>
          <p:nvPr>
            <p:ph type="sldNum" sz="quarter" idx="12"/>
          </p:nvPr>
        </p:nvSpPr>
        <p:spPr/>
        <p:txBody>
          <a:bodyPr/>
          <a:lstStyle/>
          <a:p>
            <a:fld id="{AFB4637D-E648-4D47-95AC-4BFF987C325D}" type="slidenum">
              <a:rPr lang="en-US" smtClean="0"/>
              <a:t>‹#›</a:t>
            </a:fld>
            <a:endParaRPr lang="en-US" dirty="0"/>
          </a:p>
        </p:txBody>
      </p:sp>
      <p:cxnSp>
        <p:nvCxnSpPr>
          <p:cNvPr id="12" name="Straight Connector 11">
            <a:extLst>
              <a:ext uri="{FF2B5EF4-FFF2-40B4-BE49-F238E27FC236}">
                <a16:creationId xmlns:a16="http://schemas.microsoft.com/office/drawing/2014/main" id="{A5FA42BD-C050-4A47-A483-5EDEFD0A7FEB}"/>
              </a:ext>
            </a:extLst>
          </p:cNvPr>
          <p:cNvCxnSpPr/>
          <p:nvPr/>
        </p:nvCxnSpPr>
        <p:spPr>
          <a:xfrm>
            <a:off x="4480719" y="1789282"/>
            <a:ext cx="0" cy="426471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62196226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add title</a:t>
            </a:r>
          </a:p>
        </p:txBody>
      </p:sp>
      <p:sp>
        <p:nvSpPr>
          <p:cNvPr id="5" name="Slide Number Placeholder 4"/>
          <p:cNvSpPr>
            <a:spLocks noGrp="1"/>
          </p:cNvSpPr>
          <p:nvPr>
            <p:ph type="sldNum" sz="quarter" idx="12"/>
          </p:nvPr>
        </p:nvSpPr>
        <p:spPr/>
        <p:txBody>
          <a:bodyPr/>
          <a:lstStyle/>
          <a:p>
            <a:fld id="{AFB4637D-E648-4D47-95AC-4BFF987C325D}" type="slidenum">
              <a:rPr lang="en-US" smtClean="0"/>
              <a:t>‹#›</a:t>
            </a:fld>
            <a:endParaRPr lang="en-US" dirty="0"/>
          </a:p>
        </p:txBody>
      </p:sp>
    </p:spTree>
    <p:custDataLst>
      <p:tags r:id="rId1"/>
    </p:custDataLst>
    <p:extLst>
      <p:ext uri="{BB962C8B-B14F-4D97-AF65-F5344CB8AC3E}">
        <p14:creationId xmlns:p14="http://schemas.microsoft.com/office/powerpoint/2010/main" val="9317355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4" name="Flowchart: Delay 3">
            <a:extLst>
              <a:ext uri="{FF2B5EF4-FFF2-40B4-BE49-F238E27FC236}">
                <a16:creationId xmlns:a16="http://schemas.microsoft.com/office/drawing/2014/main" id="{1DD39919-74FF-4249-AFD5-25B13A979F0A}"/>
              </a:ext>
            </a:extLst>
          </p:cNvPr>
          <p:cNvSpPr/>
          <p:nvPr/>
        </p:nvSpPr>
        <p:spPr>
          <a:xfrm flipH="1">
            <a:off x="6629805" y="4364809"/>
            <a:ext cx="2331633" cy="2356666"/>
          </a:xfrm>
          <a:prstGeom prst="flowChartDelay">
            <a:avLst/>
          </a:prstGeom>
          <a:blipFill dpi="0" rotWithShape="0">
            <a:blip r:embed="rId3"/>
            <a:srcRect/>
            <a:stretch>
              <a:fillRect l="-25623" t="-16901" r="1" b="-440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68"/>
          </a:p>
        </p:txBody>
      </p:sp>
      <p:sp>
        <p:nvSpPr>
          <p:cNvPr id="8" name="Flowchart: Delay 7">
            <a:extLst>
              <a:ext uri="{FF2B5EF4-FFF2-40B4-BE49-F238E27FC236}">
                <a16:creationId xmlns:a16="http://schemas.microsoft.com/office/drawing/2014/main" id="{F6CC155C-1681-4A9E-8169-E7D42CA34B11}"/>
              </a:ext>
            </a:extLst>
          </p:cNvPr>
          <p:cNvSpPr/>
          <p:nvPr/>
        </p:nvSpPr>
        <p:spPr>
          <a:xfrm flipH="1">
            <a:off x="6629805" y="4364809"/>
            <a:ext cx="2331633" cy="2356666"/>
          </a:xfrm>
          <a:prstGeom prst="flowChartDelay">
            <a:avLst/>
          </a:prstGeom>
          <a:gradFill flip="none" rotWithShape="1">
            <a:gsLst>
              <a:gs pos="0">
                <a:schemeClr val="accent3">
                  <a:alpha val="47000"/>
                </a:schemeClr>
              </a:gs>
              <a:gs pos="86000">
                <a:schemeClr val="accent4">
                  <a:alpha val="40000"/>
                </a:schemeClr>
              </a:gs>
            </a:gsLst>
            <a:lin ang="27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568">
              <a:solidFill>
                <a:schemeClr val="tx1"/>
              </a:solidFill>
            </a:endParaRPr>
          </a:p>
        </p:txBody>
      </p:sp>
      <p:sp>
        <p:nvSpPr>
          <p:cNvPr id="2" name="Title 1"/>
          <p:cNvSpPr>
            <a:spLocks noGrp="1"/>
          </p:cNvSpPr>
          <p:nvPr>
            <p:ph type="title" hasCustomPrompt="1"/>
          </p:nvPr>
        </p:nvSpPr>
        <p:spPr/>
        <p:txBody>
          <a:bodyPr/>
          <a:lstStyle>
            <a:lvl1pPr>
              <a:defRPr/>
            </a:lvl1pPr>
          </a:lstStyle>
          <a:p>
            <a:r>
              <a:rPr lang="en-US" dirty="0"/>
              <a:t>Click to add title</a:t>
            </a:r>
          </a:p>
        </p:txBody>
      </p:sp>
      <p:sp>
        <p:nvSpPr>
          <p:cNvPr id="5" name="Slide Number Placeholder 4"/>
          <p:cNvSpPr>
            <a:spLocks noGrp="1"/>
          </p:cNvSpPr>
          <p:nvPr>
            <p:ph type="sldNum" sz="quarter" idx="12"/>
          </p:nvPr>
        </p:nvSpPr>
        <p:spPr/>
        <p:txBody>
          <a:bodyPr/>
          <a:lstStyle/>
          <a:p>
            <a:fld id="{AFB4637D-E648-4D47-95AC-4BFF987C325D}" type="slidenum">
              <a:rPr lang="en-US" smtClean="0"/>
              <a:t>‹#›</a:t>
            </a:fld>
            <a:endParaRPr lang="en-US" dirty="0"/>
          </a:p>
        </p:txBody>
      </p:sp>
    </p:spTree>
    <p:custDataLst>
      <p:tags r:id="rId1"/>
    </p:custDataLst>
    <p:extLst>
      <p:ext uri="{BB962C8B-B14F-4D97-AF65-F5344CB8AC3E}">
        <p14:creationId xmlns:p14="http://schemas.microsoft.com/office/powerpoint/2010/main" val="18719872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47E7EECF-46B1-4A49-AC42-99BF24670138}"/>
              </a:ext>
            </a:extLst>
          </p:cNvPr>
          <p:cNvSpPr>
            <a:spLocks noGrp="1"/>
          </p:cNvSpPr>
          <p:nvPr>
            <p:ph type="sldNum" sz="quarter" idx="4"/>
          </p:nvPr>
        </p:nvSpPr>
        <p:spPr>
          <a:xfrm>
            <a:off x="7989122" y="6436969"/>
            <a:ext cx="916307" cy="211155"/>
          </a:xfrm>
          <a:prstGeom prst="rect">
            <a:avLst/>
          </a:prstGeom>
        </p:spPr>
        <p:txBody>
          <a:bodyPr vert="horz" lIns="91440" tIns="45720" rIns="91440" bIns="45720" rtlCol="0" anchor="ctr">
            <a:spAutoFit/>
          </a:bodyPr>
          <a:lstStyle>
            <a:lvl1pPr algn="r">
              <a:defRPr sz="784" b="1">
                <a:solidFill>
                  <a:srgbClr val="BA0C2F"/>
                </a:solidFill>
                <a:latin typeface="Gill Sans MT" panose="020B0502020104020203" pitchFamily="34" charset="0"/>
              </a:defRPr>
            </a:lvl1pPr>
          </a:lstStyle>
          <a:p>
            <a:fld id="{AFB4637D-E648-4D47-95AC-4BFF987C325D}" type="slidenum">
              <a:rPr lang="en-US" smtClean="0"/>
              <a:pPr/>
              <a:t>‹#›</a:t>
            </a:fld>
            <a:endParaRPr lang="en-US" dirty="0"/>
          </a:p>
        </p:txBody>
      </p:sp>
      <p:sp>
        <p:nvSpPr>
          <p:cNvPr id="8" name="TextBox 7">
            <a:extLst>
              <a:ext uri="{FF2B5EF4-FFF2-40B4-BE49-F238E27FC236}">
                <a16:creationId xmlns:a16="http://schemas.microsoft.com/office/drawing/2014/main" id="{561CD531-E4A1-4AAB-ADFF-EDAC719652F3}"/>
              </a:ext>
            </a:extLst>
          </p:cNvPr>
          <p:cNvSpPr txBox="1"/>
          <p:nvPr/>
        </p:nvSpPr>
        <p:spPr>
          <a:xfrm>
            <a:off x="224036" y="6436969"/>
            <a:ext cx="6668136" cy="211155"/>
          </a:xfrm>
          <a:prstGeom prst="rect">
            <a:avLst/>
          </a:prstGeom>
          <a:noFill/>
        </p:spPr>
        <p:txBody>
          <a:bodyPr wrap="square" rtlCol="0">
            <a:spAutoFit/>
          </a:bodyPr>
          <a:lstStyle/>
          <a:p>
            <a:r>
              <a:rPr lang="en-US" sz="784" b="0" dirty="0">
                <a:solidFill>
                  <a:srgbClr val="BA0C2F"/>
                </a:solidFill>
                <a:latin typeface="Gill Sans MT" panose="020B0502020104020203" pitchFamily="34" charset="0"/>
              </a:rPr>
              <a:t>USAID GLOBAL HEALTH SUPPLY CHAIN PROGRAM</a:t>
            </a:r>
            <a:r>
              <a:rPr lang="en-US" sz="784" b="0" dirty="0">
                <a:solidFill>
                  <a:srgbClr val="6C6463"/>
                </a:solidFill>
                <a:latin typeface="Gill Sans MT" panose="020B0502020104020203" pitchFamily="34" charset="0"/>
              </a:rPr>
              <a:t>-Procurement and Supply Management</a:t>
            </a:r>
          </a:p>
        </p:txBody>
      </p:sp>
    </p:spTree>
    <p:custDataLst>
      <p:tags r:id="rId1"/>
    </p:custDataLst>
    <p:extLst>
      <p:ext uri="{BB962C8B-B14F-4D97-AF65-F5344CB8AC3E}">
        <p14:creationId xmlns:p14="http://schemas.microsoft.com/office/powerpoint/2010/main" val="358904376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blank" preserve="1">
  <p:cSld name="End Slide">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A935AA17-AEC4-430C-B3A2-01E5BC48814A}"/>
              </a:ext>
            </a:extLst>
          </p:cNvPr>
          <p:cNvCxnSpPr>
            <a:cxnSpLocks/>
          </p:cNvCxnSpPr>
          <p:nvPr/>
        </p:nvCxnSpPr>
        <p:spPr>
          <a:xfrm>
            <a:off x="610498" y="6229812"/>
            <a:ext cx="7740442" cy="0"/>
          </a:xfrm>
          <a:prstGeom prst="line">
            <a:avLst/>
          </a:prstGeom>
          <a:ln>
            <a:solidFill>
              <a:srgbClr val="6C6463"/>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2C5A0F47-39AB-4744-9A17-EE20D1C68ACC}"/>
              </a:ext>
            </a:extLst>
          </p:cNvPr>
          <p:cNvSpPr txBox="1"/>
          <p:nvPr/>
        </p:nvSpPr>
        <p:spPr>
          <a:xfrm>
            <a:off x="224036" y="4068291"/>
            <a:ext cx="8183535" cy="2203808"/>
          </a:xfrm>
          <a:prstGeom prst="rect">
            <a:avLst/>
          </a:prstGeom>
          <a:noFill/>
        </p:spPr>
        <p:txBody>
          <a:bodyPr wrap="square" rtlCol="0">
            <a:spAutoFit/>
          </a:bodyPr>
          <a:lstStyle/>
          <a:p>
            <a:r>
              <a:rPr lang="en-US" sz="1372" dirty="0">
                <a:solidFill>
                  <a:srgbClr val="6C6463"/>
                </a:solidFill>
                <a:latin typeface="Gill Sans MT" panose="020B0502020104020203" pitchFamily="34" charset="0"/>
              </a:rPr>
              <a:t>The USAID Global Health Supply Chain Program-Procurement and Supply Management (GHSC-PSM) project is funded under USAID Contract No. AID-OAA-I-15-0004.  GHSC-PSM connects technical solutions and proven commercial processes to promote efficient and cost-effective health supply chains worldwide. Our goal is to ensure uninterrupted supplies of health commodities to save lives and create a healthier future for all. The project purchases and delivers health commodities, offers comprehensive technical assistance to strengthen national supply chain systems, and provides global supply chain leadership. For more information, visit </a:t>
            </a:r>
            <a:r>
              <a:rPr lang="en-US" sz="1372" dirty="0">
                <a:solidFill>
                  <a:srgbClr val="6C6463"/>
                </a:solidFill>
                <a:latin typeface="Gill Sans MT" panose="020B0502020104020203" pitchFamily="34" charset="0"/>
                <a:hlinkClick r:id="rId3"/>
              </a:rPr>
              <a:t>ghsupplychain.org</a:t>
            </a:r>
            <a:r>
              <a:rPr lang="en-US" sz="1372" dirty="0">
                <a:solidFill>
                  <a:srgbClr val="6C6463"/>
                </a:solidFill>
                <a:latin typeface="Gill Sans MT" panose="020B0502020104020203" pitchFamily="34" charset="0"/>
              </a:rPr>
              <a:t>.</a:t>
            </a:r>
          </a:p>
          <a:p>
            <a:endParaRPr lang="en-US" sz="1372" dirty="0">
              <a:solidFill>
                <a:srgbClr val="6C6463"/>
              </a:solidFill>
              <a:latin typeface="Gill Sans MT" panose="020B0502020104020203" pitchFamily="34" charset="0"/>
            </a:endParaRPr>
          </a:p>
          <a:p>
            <a:r>
              <a:rPr lang="en-US" sz="1372" dirty="0">
                <a:solidFill>
                  <a:srgbClr val="6C6463"/>
                </a:solidFill>
                <a:latin typeface="Gill Sans MT" panose="020B0502020104020203" pitchFamily="34" charset="0"/>
              </a:rPr>
              <a:t>The views expressed in this presentation do not necessarily reflect the views of USAID or the U.S. government.</a:t>
            </a:r>
          </a:p>
          <a:p>
            <a:r>
              <a:rPr lang="en-US" sz="1372" dirty="0">
                <a:solidFill>
                  <a:srgbClr val="6C6463"/>
                </a:solidFill>
                <a:latin typeface="Gill Sans MT" panose="020B0502020104020203" pitchFamily="34" charset="0"/>
              </a:rPr>
              <a:t> </a:t>
            </a:r>
          </a:p>
        </p:txBody>
      </p:sp>
      <p:sp>
        <p:nvSpPr>
          <p:cNvPr id="6" name="Slide Number Placeholder 5">
            <a:extLst>
              <a:ext uri="{FF2B5EF4-FFF2-40B4-BE49-F238E27FC236}">
                <a16:creationId xmlns:a16="http://schemas.microsoft.com/office/drawing/2014/main" id="{CDFC4DD3-E3BC-4CD6-95BC-45C588F8DE6D}"/>
              </a:ext>
            </a:extLst>
          </p:cNvPr>
          <p:cNvSpPr>
            <a:spLocks noGrp="1"/>
          </p:cNvSpPr>
          <p:nvPr>
            <p:ph type="sldNum" sz="quarter" idx="4"/>
          </p:nvPr>
        </p:nvSpPr>
        <p:spPr>
          <a:xfrm>
            <a:off x="7989122" y="6436969"/>
            <a:ext cx="916307" cy="211155"/>
          </a:xfrm>
          <a:prstGeom prst="rect">
            <a:avLst/>
          </a:prstGeom>
        </p:spPr>
        <p:txBody>
          <a:bodyPr vert="horz" lIns="91440" tIns="45720" rIns="91440" bIns="45720" rtlCol="0" anchor="ctr">
            <a:spAutoFit/>
          </a:bodyPr>
          <a:lstStyle>
            <a:lvl1pPr algn="r">
              <a:defRPr sz="784" b="1">
                <a:solidFill>
                  <a:srgbClr val="BA0C2F"/>
                </a:solidFill>
                <a:latin typeface="Gill Sans MT" panose="020B0502020104020203" pitchFamily="34" charset="0"/>
              </a:defRPr>
            </a:lvl1pPr>
          </a:lstStyle>
          <a:p>
            <a:fld id="{AFB4637D-E648-4D47-95AC-4BFF987C325D}" type="slidenum">
              <a:rPr lang="en-US" smtClean="0"/>
              <a:pPr/>
              <a:t>‹#›</a:t>
            </a:fld>
            <a:endParaRPr lang="en-US" dirty="0"/>
          </a:p>
        </p:txBody>
      </p:sp>
      <p:sp>
        <p:nvSpPr>
          <p:cNvPr id="7" name="TextBox 6">
            <a:extLst>
              <a:ext uri="{FF2B5EF4-FFF2-40B4-BE49-F238E27FC236}">
                <a16:creationId xmlns:a16="http://schemas.microsoft.com/office/drawing/2014/main" id="{2CCBB9FF-03DF-4D67-BAC5-D81B5F2492A0}"/>
              </a:ext>
            </a:extLst>
          </p:cNvPr>
          <p:cNvSpPr txBox="1"/>
          <p:nvPr/>
        </p:nvSpPr>
        <p:spPr>
          <a:xfrm>
            <a:off x="224036" y="6436969"/>
            <a:ext cx="6668136" cy="211155"/>
          </a:xfrm>
          <a:prstGeom prst="rect">
            <a:avLst/>
          </a:prstGeom>
          <a:noFill/>
        </p:spPr>
        <p:txBody>
          <a:bodyPr wrap="square" rtlCol="0">
            <a:spAutoFit/>
          </a:bodyPr>
          <a:lstStyle/>
          <a:p>
            <a:r>
              <a:rPr lang="en-US" sz="784" b="0" dirty="0">
                <a:solidFill>
                  <a:srgbClr val="BA0C2F"/>
                </a:solidFill>
                <a:latin typeface="Gill Sans MT" panose="020B0502020104020203" pitchFamily="34" charset="0"/>
              </a:rPr>
              <a:t>USAID GLOBAL HEALTH SUPPLY CHAIN PROGRAM</a:t>
            </a:r>
            <a:r>
              <a:rPr lang="en-US" sz="784" b="0" dirty="0">
                <a:solidFill>
                  <a:srgbClr val="6C6463"/>
                </a:solidFill>
                <a:latin typeface="Gill Sans MT" panose="020B0502020104020203" pitchFamily="34" charset="0"/>
              </a:rPr>
              <a:t>-Procurement and Supply Management</a:t>
            </a:r>
          </a:p>
        </p:txBody>
      </p:sp>
    </p:spTree>
    <p:custDataLst>
      <p:tags r:id="rId1"/>
    </p:custDataLst>
    <p:extLst>
      <p:ext uri="{BB962C8B-B14F-4D97-AF65-F5344CB8AC3E}">
        <p14:creationId xmlns:p14="http://schemas.microsoft.com/office/powerpoint/2010/main" val="11359773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itle Slide Shipping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225263" y="2525422"/>
            <a:ext cx="3599265" cy="1470459"/>
          </a:xfrm>
        </p:spPr>
        <p:txBody>
          <a:bodyPr anchor="b">
            <a:normAutofit/>
          </a:bodyPr>
          <a:lstStyle>
            <a:lvl1pPr algn="l">
              <a:defRPr sz="3136"/>
            </a:lvl1pPr>
          </a:lstStyle>
          <a:p>
            <a:r>
              <a:rPr lang="en-US" dirty="0"/>
              <a:t>Click to insert title</a:t>
            </a:r>
          </a:p>
        </p:txBody>
      </p:sp>
      <p:sp>
        <p:nvSpPr>
          <p:cNvPr id="3" name="Subtitle 2"/>
          <p:cNvSpPr>
            <a:spLocks noGrp="1"/>
          </p:cNvSpPr>
          <p:nvPr>
            <p:ph type="subTitle" idx="1" hasCustomPrompt="1"/>
          </p:nvPr>
        </p:nvSpPr>
        <p:spPr>
          <a:xfrm>
            <a:off x="5225263" y="4218887"/>
            <a:ext cx="3599265" cy="693794"/>
          </a:xfrm>
        </p:spPr>
        <p:txBody>
          <a:bodyPr>
            <a:spAutoFit/>
          </a:bodyPr>
          <a:lstStyle>
            <a:lvl1pPr marL="0" indent="0" algn="l">
              <a:buNone/>
              <a:defRPr sz="1960"/>
            </a:lvl1pPr>
            <a:lvl2pPr marL="448056" indent="0" algn="ctr">
              <a:buNone/>
              <a:defRPr sz="1960"/>
            </a:lvl2pPr>
            <a:lvl3pPr marL="896112" indent="0" algn="ctr">
              <a:buNone/>
              <a:defRPr sz="1764"/>
            </a:lvl3pPr>
            <a:lvl4pPr marL="1344168" indent="0" algn="ctr">
              <a:buNone/>
              <a:defRPr sz="1568"/>
            </a:lvl4pPr>
            <a:lvl5pPr marL="1792224" indent="0" algn="ctr">
              <a:buNone/>
              <a:defRPr sz="1568"/>
            </a:lvl5pPr>
            <a:lvl6pPr marL="2240280" indent="0" algn="ctr">
              <a:buNone/>
              <a:defRPr sz="1568"/>
            </a:lvl6pPr>
            <a:lvl7pPr marL="2688336" indent="0" algn="ctr">
              <a:buNone/>
              <a:defRPr sz="1568"/>
            </a:lvl7pPr>
            <a:lvl8pPr marL="3136392" indent="0" algn="ctr">
              <a:buNone/>
              <a:defRPr sz="1568"/>
            </a:lvl8pPr>
            <a:lvl9pPr marL="3584448" indent="0" algn="ctr">
              <a:buNone/>
              <a:defRPr sz="1568"/>
            </a:lvl9pPr>
          </a:lstStyle>
          <a:p>
            <a:r>
              <a:rPr lang="en-US" dirty="0"/>
              <a:t>Click to insert date and/or author</a:t>
            </a:r>
          </a:p>
        </p:txBody>
      </p:sp>
      <p:sp>
        <p:nvSpPr>
          <p:cNvPr id="12" name="Rectangle 11">
            <a:extLst>
              <a:ext uri="{FF2B5EF4-FFF2-40B4-BE49-F238E27FC236}">
                <a16:creationId xmlns:a16="http://schemas.microsoft.com/office/drawing/2014/main" id="{96C3964D-A2DB-4719-91DE-E000BDEA4A50}"/>
              </a:ext>
            </a:extLst>
          </p:cNvPr>
          <p:cNvSpPr/>
          <p:nvPr/>
        </p:nvSpPr>
        <p:spPr>
          <a:xfrm>
            <a:off x="2342048" y="305483"/>
            <a:ext cx="6314701" cy="512804"/>
          </a:xfrm>
          <a:prstGeom prst="rect">
            <a:avLst/>
          </a:prstGeom>
        </p:spPr>
        <p:txBody>
          <a:bodyPr wrap="square">
            <a:spAutoFit/>
          </a:bodyPr>
          <a:lstStyle/>
          <a:p>
            <a:pPr algn="r" defTabSz="896112"/>
            <a:r>
              <a:rPr lang="en-US" sz="1372" b="0" dirty="0">
                <a:solidFill>
                  <a:srgbClr val="BA0C2F"/>
                </a:solidFill>
                <a:latin typeface="Gill Sans MT"/>
              </a:rPr>
              <a:t>USAID GLOBAL HEALTH SUPPLY CHAIN PROGRAM</a:t>
            </a:r>
          </a:p>
          <a:p>
            <a:pPr algn="r" defTabSz="896112">
              <a:defRPr/>
            </a:pPr>
            <a:r>
              <a:rPr lang="en-US" sz="1372" dirty="0">
                <a:solidFill>
                  <a:srgbClr val="6C6463"/>
                </a:solidFill>
                <a:latin typeface="Gill Sans MT"/>
              </a:rPr>
              <a:t>Procurement and Supply Management</a:t>
            </a:r>
          </a:p>
        </p:txBody>
      </p:sp>
      <p:cxnSp>
        <p:nvCxnSpPr>
          <p:cNvPr id="19" name="Straight Connector 18">
            <a:extLst>
              <a:ext uri="{FF2B5EF4-FFF2-40B4-BE49-F238E27FC236}">
                <a16:creationId xmlns:a16="http://schemas.microsoft.com/office/drawing/2014/main" id="{7CEA5C25-D68E-425A-B38A-82D17C052653}"/>
              </a:ext>
            </a:extLst>
          </p:cNvPr>
          <p:cNvCxnSpPr>
            <a:cxnSpLocks/>
          </p:cNvCxnSpPr>
          <p:nvPr/>
        </p:nvCxnSpPr>
        <p:spPr>
          <a:xfrm>
            <a:off x="5225265" y="4104170"/>
            <a:ext cx="3636601" cy="0"/>
          </a:xfrm>
          <a:prstGeom prst="line">
            <a:avLst/>
          </a:prstGeom>
          <a:ln>
            <a:solidFill>
              <a:srgbClr val="6C6463"/>
            </a:solidFill>
          </a:ln>
        </p:spPr>
        <p:style>
          <a:lnRef idx="1">
            <a:schemeClr val="accent1"/>
          </a:lnRef>
          <a:fillRef idx="0">
            <a:schemeClr val="accent1"/>
          </a:fillRef>
          <a:effectRef idx="0">
            <a:schemeClr val="accent1"/>
          </a:effectRef>
          <a:fontRef idx="minor">
            <a:schemeClr val="tx1"/>
          </a:fontRef>
        </p:style>
      </p:cxnSp>
      <p:pic>
        <p:nvPicPr>
          <p:cNvPr id="27" name="Picture 26" descr="A close up of a sign&#10;&#10;Description generated with very high confidence">
            <a:extLst>
              <a:ext uri="{FF2B5EF4-FFF2-40B4-BE49-F238E27FC236}">
                <a16:creationId xmlns:a16="http://schemas.microsoft.com/office/drawing/2014/main" id="{2DBFB556-7B57-4C6E-BA6B-44B1EB94FC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1041" y="237761"/>
            <a:ext cx="2177634" cy="648250"/>
          </a:xfrm>
          <a:prstGeom prst="rect">
            <a:avLst/>
          </a:prstGeom>
        </p:spPr>
      </p:pic>
      <p:sp>
        <p:nvSpPr>
          <p:cNvPr id="4" name="Flowchart: Delay 3">
            <a:extLst>
              <a:ext uri="{FF2B5EF4-FFF2-40B4-BE49-F238E27FC236}">
                <a16:creationId xmlns:a16="http://schemas.microsoft.com/office/drawing/2014/main" id="{FD493757-46BA-429A-822B-F8AC336DE1DA}"/>
              </a:ext>
            </a:extLst>
          </p:cNvPr>
          <p:cNvSpPr/>
          <p:nvPr/>
        </p:nvSpPr>
        <p:spPr>
          <a:xfrm>
            <a:off x="0" y="1114022"/>
            <a:ext cx="5022139" cy="5607453"/>
          </a:xfrm>
          <a:prstGeom prst="flowChartDelay">
            <a:avLst/>
          </a:prstGeom>
          <a:blipFill>
            <a:blip r:embed="rId4"/>
            <a:stretch>
              <a:fillRect r="-90086"/>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68"/>
          </a:p>
        </p:txBody>
      </p:sp>
      <p:grpSp>
        <p:nvGrpSpPr>
          <p:cNvPr id="9" name="Graphic 13">
            <a:extLst>
              <a:ext uri="{FF2B5EF4-FFF2-40B4-BE49-F238E27FC236}">
                <a16:creationId xmlns:a16="http://schemas.microsoft.com/office/drawing/2014/main" id="{0325783A-655F-407F-A9E9-C648CCC04E10}"/>
              </a:ext>
            </a:extLst>
          </p:cNvPr>
          <p:cNvGrpSpPr/>
          <p:nvPr/>
        </p:nvGrpSpPr>
        <p:grpSpPr>
          <a:xfrm>
            <a:off x="4567844" y="5724848"/>
            <a:ext cx="616099" cy="720232"/>
            <a:chOff x="5581649" y="4609230"/>
            <a:chExt cx="1076325" cy="1258170"/>
          </a:xfrm>
        </p:grpSpPr>
        <p:sp>
          <p:nvSpPr>
            <p:cNvPr id="10" name="Freeform: Shape 9">
              <a:extLst>
                <a:ext uri="{FF2B5EF4-FFF2-40B4-BE49-F238E27FC236}">
                  <a16:creationId xmlns:a16="http://schemas.microsoft.com/office/drawing/2014/main" id="{FEC6EB5A-9E5F-481F-A812-DE286B057BC3}"/>
                </a:ext>
              </a:extLst>
            </p:cNvPr>
            <p:cNvSpPr/>
            <p:nvPr/>
          </p:nvSpPr>
          <p:spPr>
            <a:xfrm>
              <a:off x="6099047" y="4923650"/>
              <a:ext cx="39318" cy="98295"/>
            </a:xfrm>
            <a:custGeom>
              <a:avLst/>
              <a:gdLst>
                <a:gd name="connsiteX0" fmla="*/ 20765 w 39317"/>
                <a:gd name="connsiteY0" fmla="*/ 97434 h 98294"/>
                <a:gd name="connsiteX1" fmla="*/ 1843 w 39317"/>
                <a:gd name="connsiteY1" fmla="*/ 78513 h 98294"/>
                <a:gd name="connsiteX2" fmla="*/ 1843 w 39317"/>
                <a:gd name="connsiteY2" fmla="*/ 20765 h 98294"/>
                <a:gd name="connsiteX3" fmla="*/ 20765 w 39317"/>
                <a:gd name="connsiteY3" fmla="*/ 1843 h 98294"/>
                <a:gd name="connsiteX4" fmla="*/ 39686 w 39317"/>
                <a:gd name="connsiteY4" fmla="*/ 20765 h 98294"/>
                <a:gd name="connsiteX5" fmla="*/ 39686 w 39317"/>
                <a:gd name="connsiteY5" fmla="*/ 78513 h 98294"/>
                <a:gd name="connsiteX6" fmla="*/ 20765 w 39317"/>
                <a:gd name="connsiteY6" fmla="*/ 97434 h 98294"/>
                <a:gd name="connsiteX7" fmla="*/ 20765 w 39317"/>
                <a:gd name="connsiteY7" fmla="*/ 97434 h 98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17" h="98294">
                  <a:moveTo>
                    <a:pt x="20765" y="97434"/>
                  </a:moveTo>
                  <a:cubicBezTo>
                    <a:pt x="10198" y="97434"/>
                    <a:pt x="1843" y="88834"/>
                    <a:pt x="1843" y="78513"/>
                  </a:cubicBezTo>
                  <a:lnTo>
                    <a:pt x="1843" y="20765"/>
                  </a:lnTo>
                  <a:cubicBezTo>
                    <a:pt x="1843" y="10198"/>
                    <a:pt x="10444" y="1843"/>
                    <a:pt x="20765" y="1843"/>
                  </a:cubicBezTo>
                  <a:cubicBezTo>
                    <a:pt x="31331" y="1843"/>
                    <a:pt x="39686" y="10444"/>
                    <a:pt x="39686" y="20765"/>
                  </a:cubicBezTo>
                  <a:lnTo>
                    <a:pt x="39686" y="78513"/>
                  </a:lnTo>
                  <a:cubicBezTo>
                    <a:pt x="39932" y="88834"/>
                    <a:pt x="31331" y="97434"/>
                    <a:pt x="20765" y="97434"/>
                  </a:cubicBezTo>
                  <a:lnTo>
                    <a:pt x="20765" y="97434"/>
                  </a:lnTo>
                  <a:close/>
                </a:path>
              </a:pathLst>
            </a:custGeom>
            <a:solidFill>
              <a:srgbClr val="CCD2DB"/>
            </a:solidFill>
            <a:ln w="9525" cap="flat">
              <a:noFill/>
              <a:prstDash val="solid"/>
              <a:miter/>
            </a:ln>
          </p:spPr>
          <p:txBody>
            <a:bodyPr rtlCol="0" anchor="ctr"/>
            <a:lstStyle/>
            <a:p>
              <a:endParaRPr lang="en-US" sz="1568"/>
            </a:p>
          </p:txBody>
        </p:sp>
        <p:sp>
          <p:nvSpPr>
            <p:cNvPr id="11" name="Freeform: Shape 10">
              <a:extLst>
                <a:ext uri="{FF2B5EF4-FFF2-40B4-BE49-F238E27FC236}">
                  <a16:creationId xmlns:a16="http://schemas.microsoft.com/office/drawing/2014/main" id="{7EB0629A-C9E1-4BD3-83BA-03B32CA9DA53}"/>
                </a:ext>
              </a:extLst>
            </p:cNvPr>
            <p:cNvSpPr/>
            <p:nvPr/>
          </p:nvSpPr>
          <p:spPr>
            <a:xfrm>
              <a:off x="6099047" y="5453949"/>
              <a:ext cx="39318" cy="98295"/>
            </a:xfrm>
            <a:custGeom>
              <a:avLst/>
              <a:gdLst>
                <a:gd name="connsiteX0" fmla="*/ 20765 w 39317"/>
                <a:gd name="connsiteY0" fmla="*/ 97434 h 98294"/>
                <a:gd name="connsiteX1" fmla="*/ 1843 w 39317"/>
                <a:gd name="connsiteY1" fmla="*/ 78513 h 98294"/>
                <a:gd name="connsiteX2" fmla="*/ 1843 w 39317"/>
                <a:gd name="connsiteY2" fmla="*/ 20765 h 98294"/>
                <a:gd name="connsiteX3" fmla="*/ 20765 w 39317"/>
                <a:gd name="connsiteY3" fmla="*/ 1843 h 98294"/>
                <a:gd name="connsiteX4" fmla="*/ 39686 w 39317"/>
                <a:gd name="connsiteY4" fmla="*/ 20765 h 98294"/>
                <a:gd name="connsiteX5" fmla="*/ 39686 w 39317"/>
                <a:gd name="connsiteY5" fmla="*/ 78513 h 98294"/>
                <a:gd name="connsiteX6" fmla="*/ 20765 w 39317"/>
                <a:gd name="connsiteY6" fmla="*/ 97434 h 98294"/>
                <a:gd name="connsiteX7" fmla="*/ 20765 w 39317"/>
                <a:gd name="connsiteY7" fmla="*/ 97434 h 98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17" h="98294">
                  <a:moveTo>
                    <a:pt x="20765" y="97434"/>
                  </a:moveTo>
                  <a:cubicBezTo>
                    <a:pt x="10198" y="97434"/>
                    <a:pt x="1843" y="88834"/>
                    <a:pt x="1843" y="78513"/>
                  </a:cubicBezTo>
                  <a:lnTo>
                    <a:pt x="1843" y="20765"/>
                  </a:lnTo>
                  <a:cubicBezTo>
                    <a:pt x="1843" y="10198"/>
                    <a:pt x="10444" y="1843"/>
                    <a:pt x="20765" y="1843"/>
                  </a:cubicBezTo>
                  <a:cubicBezTo>
                    <a:pt x="31331" y="1843"/>
                    <a:pt x="39686" y="10444"/>
                    <a:pt x="39686" y="20765"/>
                  </a:cubicBezTo>
                  <a:lnTo>
                    <a:pt x="39686" y="78513"/>
                  </a:lnTo>
                  <a:cubicBezTo>
                    <a:pt x="39932" y="88834"/>
                    <a:pt x="31331" y="97434"/>
                    <a:pt x="20765" y="97434"/>
                  </a:cubicBezTo>
                  <a:lnTo>
                    <a:pt x="20765" y="97434"/>
                  </a:lnTo>
                  <a:close/>
                </a:path>
              </a:pathLst>
            </a:custGeom>
            <a:solidFill>
              <a:srgbClr val="CCD2DB"/>
            </a:solidFill>
            <a:ln w="9525" cap="flat">
              <a:noFill/>
              <a:prstDash val="solid"/>
              <a:miter/>
            </a:ln>
          </p:spPr>
          <p:txBody>
            <a:bodyPr rtlCol="0" anchor="ctr"/>
            <a:lstStyle/>
            <a:p>
              <a:endParaRPr lang="en-US" sz="1568"/>
            </a:p>
          </p:txBody>
        </p:sp>
        <p:sp>
          <p:nvSpPr>
            <p:cNvPr id="13" name="Freeform: Shape 12">
              <a:extLst>
                <a:ext uri="{FF2B5EF4-FFF2-40B4-BE49-F238E27FC236}">
                  <a16:creationId xmlns:a16="http://schemas.microsoft.com/office/drawing/2014/main" id="{FA665960-8810-4F12-B25D-C8BCF523D485}"/>
                </a:ext>
              </a:extLst>
            </p:cNvPr>
            <p:cNvSpPr/>
            <p:nvPr/>
          </p:nvSpPr>
          <p:spPr>
            <a:xfrm>
              <a:off x="5844282" y="5070172"/>
              <a:ext cx="90922" cy="68806"/>
            </a:xfrm>
            <a:custGeom>
              <a:avLst/>
              <a:gdLst>
                <a:gd name="connsiteX0" fmla="*/ 61493 w 90922"/>
                <a:gd name="connsiteY0" fmla="*/ 66408 h 68806"/>
                <a:gd name="connsiteX1" fmla="*/ 11363 w 90922"/>
                <a:gd name="connsiteY1" fmla="*/ 37411 h 68806"/>
                <a:gd name="connsiteX2" fmla="*/ 4482 w 90922"/>
                <a:gd name="connsiteY2" fmla="*/ 11363 h 68806"/>
                <a:gd name="connsiteX3" fmla="*/ 30531 w 90922"/>
                <a:gd name="connsiteY3" fmla="*/ 4482 h 68806"/>
                <a:gd name="connsiteX4" fmla="*/ 80661 w 90922"/>
                <a:gd name="connsiteY4" fmla="*/ 33479 h 68806"/>
                <a:gd name="connsiteX5" fmla="*/ 87541 w 90922"/>
                <a:gd name="connsiteY5" fmla="*/ 59527 h 68806"/>
                <a:gd name="connsiteX6" fmla="*/ 61493 w 90922"/>
                <a:gd name="connsiteY6" fmla="*/ 66408 h 68806"/>
                <a:gd name="connsiteX7" fmla="*/ 61493 w 90922"/>
                <a:gd name="connsiteY7" fmla="*/ 66408 h 68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922" h="68806">
                  <a:moveTo>
                    <a:pt x="61493" y="66408"/>
                  </a:moveTo>
                  <a:lnTo>
                    <a:pt x="11363" y="37411"/>
                  </a:lnTo>
                  <a:cubicBezTo>
                    <a:pt x="2271" y="32251"/>
                    <a:pt x="-924" y="20455"/>
                    <a:pt x="4482" y="11363"/>
                  </a:cubicBezTo>
                  <a:cubicBezTo>
                    <a:pt x="9643" y="2271"/>
                    <a:pt x="21438" y="-924"/>
                    <a:pt x="30531" y="4482"/>
                  </a:cubicBezTo>
                  <a:lnTo>
                    <a:pt x="80661" y="33479"/>
                  </a:lnTo>
                  <a:cubicBezTo>
                    <a:pt x="89753" y="38640"/>
                    <a:pt x="92948" y="50435"/>
                    <a:pt x="87541" y="59527"/>
                  </a:cubicBezTo>
                  <a:cubicBezTo>
                    <a:pt x="82135" y="68620"/>
                    <a:pt x="70586" y="71814"/>
                    <a:pt x="61493" y="66408"/>
                  </a:cubicBezTo>
                  <a:lnTo>
                    <a:pt x="61493" y="66408"/>
                  </a:lnTo>
                  <a:close/>
                </a:path>
              </a:pathLst>
            </a:custGeom>
            <a:solidFill>
              <a:srgbClr val="CCD2DB"/>
            </a:solidFill>
            <a:ln w="9525" cap="flat">
              <a:noFill/>
              <a:prstDash val="solid"/>
              <a:miter/>
            </a:ln>
          </p:spPr>
          <p:txBody>
            <a:bodyPr rtlCol="0" anchor="ctr"/>
            <a:lstStyle/>
            <a:p>
              <a:endParaRPr lang="en-US" sz="1568"/>
            </a:p>
          </p:txBody>
        </p:sp>
        <p:sp>
          <p:nvSpPr>
            <p:cNvPr id="14" name="Freeform: Shape 13">
              <a:extLst>
                <a:ext uri="{FF2B5EF4-FFF2-40B4-BE49-F238E27FC236}">
                  <a16:creationId xmlns:a16="http://schemas.microsoft.com/office/drawing/2014/main" id="{B43C0516-4F36-440C-9FDC-17FF1239315C}"/>
                </a:ext>
              </a:extLst>
            </p:cNvPr>
            <p:cNvSpPr/>
            <p:nvPr/>
          </p:nvSpPr>
          <p:spPr>
            <a:xfrm>
              <a:off x="6303563" y="5335322"/>
              <a:ext cx="90922" cy="68806"/>
            </a:xfrm>
            <a:custGeom>
              <a:avLst/>
              <a:gdLst>
                <a:gd name="connsiteX0" fmla="*/ 61493 w 90922"/>
                <a:gd name="connsiteY0" fmla="*/ 66408 h 68806"/>
                <a:gd name="connsiteX1" fmla="*/ 11363 w 90922"/>
                <a:gd name="connsiteY1" fmla="*/ 37411 h 68806"/>
                <a:gd name="connsiteX2" fmla="*/ 4482 w 90922"/>
                <a:gd name="connsiteY2" fmla="*/ 11363 h 68806"/>
                <a:gd name="connsiteX3" fmla="*/ 30531 w 90922"/>
                <a:gd name="connsiteY3" fmla="*/ 4482 h 68806"/>
                <a:gd name="connsiteX4" fmla="*/ 80661 w 90922"/>
                <a:gd name="connsiteY4" fmla="*/ 33479 h 68806"/>
                <a:gd name="connsiteX5" fmla="*/ 87541 w 90922"/>
                <a:gd name="connsiteY5" fmla="*/ 59527 h 68806"/>
                <a:gd name="connsiteX6" fmla="*/ 61493 w 90922"/>
                <a:gd name="connsiteY6" fmla="*/ 66408 h 68806"/>
                <a:gd name="connsiteX7" fmla="*/ 61493 w 90922"/>
                <a:gd name="connsiteY7" fmla="*/ 66408 h 68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922" h="68806">
                  <a:moveTo>
                    <a:pt x="61493" y="66408"/>
                  </a:moveTo>
                  <a:lnTo>
                    <a:pt x="11363" y="37411"/>
                  </a:lnTo>
                  <a:cubicBezTo>
                    <a:pt x="2271" y="32251"/>
                    <a:pt x="-924" y="20455"/>
                    <a:pt x="4482" y="11363"/>
                  </a:cubicBezTo>
                  <a:cubicBezTo>
                    <a:pt x="9643" y="2271"/>
                    <a:pt x="21438" y="-924"/>
                    <a:pt x="30531" y="4482"/>
                  </a:cubicBezTo>
                  <a:lnTo>
                    <a:pt x="80661" y="33479"/>
                  </a:lnTo>
                  <a:cubicBezTo>
                    <a:pt x="89753" y="38640"/>
                    <a:pt x="92948" y="50435"/>
                    <a:pt x="87541" y="59527"/>
                  </a:cubicBezTo>
                  <a:cubicBezTo>
                    <a:pt x="82135" y="68620"/>
                    <a:pt x="70586" y="71814"/>
                    <a:pt x="61493" y="66408"/>
                  </a:cubicBezTo>
                  <a:lnTo>
                    <a:pt x="61493" y="66408"/>
                  </a:lnTo>
                  <a:close/>
                </a:path>
              </a:pathLst>
            </a:custGeom>
            <a:solidFill>
              <a:srgbClr val="CCD2DB"/>
            </a:solidFill>
            <a:ln w="9525" cap="flat">
              <a:noFill/>
              <a:prstDash val="solid"/>
              <a:miter/>
            </a:ln>
          </p:spPr>
          <p:txBody>
            <a:bodyPr rtlCol="0" anchor="ctr"/>
            <a:lstStyle/>
            <a:p>
              <a:endParaRPr lang="en-US" sz="1568"/>
            </a:p>
          </p:txBody>
        </p:sp>
        <p:sp>
          <p:nvSpPr>
            <p:cNvPr id="15" name="Freeform: Shape 14">
              <a:extLst>
                <a:ext uri="{FF2B5EF4-FFF2-40B4-BE49-F238E27FC236}">
                  <a16:creationId xmlns:a16="http://schemas.microsoft.com/office/drawing/2014/main" id="{E8038F75-6268-47B0-8F70-1E8C90233160}"/>
                </a:ext>
              </a:extLst>
            </p:cNvPr>
            <p:cNvSpPr/>
            <p:nvPr/>
          </p:nvSpPr>
          <p:spPr>
            <a:xfrm>
              <a:off x="5844391" y="5335431"/>
              <a:ext cx="90922" cy="68806"/>
            </a:xfrm>
            <a:custGeom>
              <a:avLst/>
              <a:gdLst>
                <a:gd name="connsiteX0" fmla="*/ 4373 w 90922"/>
                <a:gd name="connsiteY0" fmla="*/ 59418 h 68806"/>
                <a:gd name="connsiteX1" fmla="*/ 11254 w 90922"/>
                <a:gd name="connsiteY1" fmla="*/ 33370 h 68806"/>
                <a:gd name="connsiteX2" fmla="*/ 61384 w 90922"/>
                <a:gd name="connsiteY2" fmla="*/ 4373 h 68806"/>
                <a:gd name="connsiteX3" fmla="*/ 87432 w 90922"/>
                <a:gd name="connsiteY3" fmla="*/ 11254 h 68806"/>
                <a:gd name="connsiteX4" fmla="*/ 80552 w 90922"/>
                <a:gd name="connsiteY4" fmla="*/ 37302 h 68806"/>
                <a:gd name="connsiteX5" fmla="*/ 30421 w 90922"/>
                <a:gd name="connsiteY5" fmla="*/ 66299 h 68806"/>
                <a:gd name="connsiteX6" fmla="*/ 4373 w 90922"/>
                <a:gd name="connsiteY6" fmla="*/ 59418 h 68806"/>
                <a:gd name="connsiteX7" fmla="*/ 4373 w 90922"/>
                <a:gd name="connsiteY7" fmla="*/ 59418 h 68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922" h="68806">
                  <a:moveTo>
                    <a:pt x="4373" y="59418"/>
                  </a:moveTo>
                  <a:cubicBezTo>
                    <a:pt x="-787" y="50326"/>
                    <a:pt x="2162" y="38776"/>
                    <a:pt x="11254" y="33370"/>
                  </a:cubicBezTo>
                  <a:lnTo>
                    <a:pt x="61384" y="4373"/>
                  </a:lnTo>
                  <a:cubicBezTo>
                    <a:pt x="70476" y="-787"/>
                    <a:pt x="82026" y="2162"/>
                    <a:pt x="87432" y="11254"/>
                  </a:cubicBezTo>
                  <a:cubicBezTo>
                    <a:pt x="92593" y="20346"/>
                    <a:pt x="89644" y="31896"/>
                    <a:pt x="80552" y="37302"/>
                  </a:cubicBezTo>
                  <a:lnTo>
                    <a:pt x="30421" y="66299"/>
                  </a:lnTo>
                  <a:cubicBezTo>
                    <a:pt x="21329" y="71705"/>
                    <a:pt x="9534" y="68510"/>
                    <a:pt x="4373" y="59418"/>
                  </a:cubicBezTo>
                  <a:lnTo>
                    <a:pt x="4373" y="59418"/>
                  </a:lnTo>
                  <a:close/>
                </a:path>
              </a:pathLst>
            </a:custGeom>
            <a:solidFill>
              <a:srgbClr val="CCD2DB"/>
            </a:solidFill>
            <a:ln w="9525" cap="flat">
              <a:noFill/>
              <a:prstDash val="solid"/>
              <a:miter/>
            </a:ln>
          </p:spPr>
          <p:txBody>
            <a:bodyPr rtlCol="0" anchor="ctr"/>
            <a:lstStyle/>
            <a:p>
              <a:endParaRPr lang="en-US" sz="1568"/>
            </a:p>
          </p:txBody>
        </p:sp>
        <p:sp>
          <p:nvSpPr>
            <p:cNvPr id="16" name="Freeform: Shape 15">
              <a:extLst>
                <a:ext uri="{FF2B5EF4-FFF2-40B4-BE49-F238E27FC236}">
                  <a16:creationId xmlns:a16="http://schemas.microsoft.com/office/drawing/2014/main" id="{98219C80-5AC3-4BB2-A46D-DF4DACDCCD7B}"/>
                </a:ext>
              </a:extLst>
            </p:cNvPr>
            <p:cNvSpPr/>
            <p:nvPr/>
          </p:nvSpPr>
          <p:spPr>
            <a:xfrm>
              <a:off x="6303672" y="5070281"/>
              <a:ext cx="90922" cy="68806"/>
            </a:xfrm>
            <a:custGeom>
              <a:avLst/>
              <a:gdLst>
                <a:gd name="connsiteX0" fmla="*/ 4373 w 90922"/>
                <a:gd name="connsiteY0" fmla="*/ 59418 h 68806"/>
                <a:gd name="connsiteX1" fmla="*/ 11254 w 90922"/>
                <a:gd name="connsiteY1" fmla="*/ 33370 h 68806"/>
                <a:gd name="connsiteX2" fmla="*/ 61384 w 90922"/>
                <a:gd name="connsiteY2" fmla="*/ 4373 h 68806"/>
                <a:gd name="connsiteX3" fmla="*/ 87432 w 90922"/>
                <a:gd name="connsiteY3" fmla="*/ 11254 h 68806"/>
                <a:gd name="connsiteX4" fmla="*/ 80552 w 90922"/>
                <a:gd name="connsiteY4" fmla="*/ 37302 h 68806"/>
                <a:gd name="connsiteX5" fmla="*/ 30421 w 90922"/>
                <a:gd name="connsiteY5" fmla="*/ 66299 h 68806"/>
                <a:gd name="connsiteX6" fmla="*/ 4373 w 90922"/>
                <a:gd name="connsiteY6" fmla="*/ 59418 h 68806"/>
                <a:gd name="connsiteX7" fmla="*/ 4373 w 90922"/>
                <a:gd name="connsiteY7" fmla="*/ 59418 h 68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922" h="68806">
                  <a:moveTo>
                    <a:pt x="4373" y="59418"/>
                  </a:moveTo>
                  <a:cubicBezTo>
                    <a:pt x="-787" y="50326"/>
                    <a:pt x="2162" y="38776"/>
                    <a:pt x="11254" y="33370"/>
                  </a:cubicBezTo>
                  <a:lnTo>
                    <a:pt x="61384" y="4373"/>
                  </a:lnTo>
                  <a:cubicBezTo>
                    <a:pt x="70476" y="-787"/>
                    <a:pt x="82026" y="2162"/>
                    <a:pt x="87432" y="11254"/>
                  </a:cubicBezTo>
                  <a:cubicBezTo>
                    <a:pt x="92593" y="20346"/>
                    <a:pt x="89644" y="31896"/>
                    <a:pt x="80552" y="37302"/>
                  </a:cubicBezTo>
                  <a:lnTo>
                    <a:pt x="30421" y="66299"/>
                  </a:lnTo>
                  <a:cubicBezTo>
                    <a:pt x="21329" y="71705"/>
                    <a:pt x="9534" y="68510"/>
                    <a:pt x="4373" y="59418"/>
                  </a:cubicBezTo>
                  <a:lnTo>
                    <a:pt x="4373" y="59418"/>
                  </a:lnTo>
                  <a:close/>
                </a:path>
              </a:pathLst>
            </a:custGeom>
            <a:solidFill>
              <a:srgbClr val="CCD2DB"/>
            </a:solidFill>
            <a:ln w="9525" cap="flat">
              <a:noFill/>
              <a:prstDash val="solid"/>
              <a:miter/>
            </a:ln>
          </p:spPr>
          <p:txBody>
            <a:bodyPr rtlCol="0" anchor="ctr"/>
            <a:lstStyle/>
            <a:p>
              <a:endParaRPr lang="en-US" sz="1568"/>
            </a:p>
          </p:txBody>
        </p:sp>
        <p:sp>
          <p:nvSpPr>
            <p:cNvPr id="17" name="Freeform: Shape 16">
              <a:extLst>
                <a:ext uri="{FF2B5EF4-FFF2-40B4-BE49-F238E27FC236}">
                  <a16:creationId xmlns:a16="http://schemas.microsoft.com/office/drawing/2014/main" id="{A67E95F5-F4E6-4B72-9A6E-058C5D56D0E1}"/>
                </a:ext>
              </a:extLst>
            </p:cNvPr>
            <p:cNvSpPr/>
            <p:nvPr/>
          </p:nvSpPr>
          <p:spPr>
            <a:xfrm>
              <a:off x="5882062" y="5000319"/>
              <a:ext cx="474271" cy="474271"/>
            </a:xfrm>
            <a:custGeom>
              <a:avLst/>
              <a:gdLst>
                <a:gd name="connsiteX0" fmla="*/ 474148 w 474271"/>
                <a:gd name="connsiteY0" fmla="*/ 237996 h 474271"/>
                <a:gd name="connsiteX1" fmla="*/ 237996 w 474271"/>
                <a:gd name="connsiteY1" fmla="*/ 474148 h 474271"/>
                <a:gd name="connsiteX2" fmla="*/ 1843 w 474271"/>
                <a:gd name="connsiteY2" fmla="*/ 237996 h 474271"/>
                <a:gd name="connsiteX3" fmla="*/ 237996 w 474271"/>
                <a:gd name="connsiteY3" fmla="*/ 1843 h 474271"/>
                <a:gd name="connsiteX4" fmla="*/ 474148 w 474271"/>
                <a:gd name="connsiteY4" fmla="*/ 237996 h 474271"/>
                <a:gd name="connsiteX5" fmla="*/ 474148 w 474271"/>
                <a:gd name="connsiteY5" fmla="*/ 237996 h 474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271" h="474271">
                  <a:moveTo>
                    <a:pt x="474148" y="237996"/>
                  </a:moveTo>
                  <a:cubicBezTo>
                    <a:pt x="474148" y="368482"/>
                    <a:pt x="368482" y="474148"/>
                    <a:pt x="237996" y="474148"/>
                  </a:cubicBezTo>
                  <a:cubicBezTo>
                    <a:pt x="107510" y="474148"/>
                    <a:pt x="1843" y="368482"/>
                    <a:pt x="1843" y="237996"/>
                  </a:cubicBezTo>
                  <a:cubicBezTo>
                    <a:pt x="1843" y="107510"/>
                    <a:pt x="107510" y="1843"/>
                    <a:pt x="237996" y="1843"/>
                  </a:cubicBezTo>
                  <a:cubicBezTo>
                    <a:pt x="368236" y="1843"/>
                    <a:pt x="474148" y="107510"/>
                    <a:pt x="474148" y="237996"/>
                  </a:cubicBezTo>
                  <a:lnTo>
                    <a:pt x="474148" y="237996"/>
                  </a:lnTo>
                  <a:close/>
                </a:path>
              </a:pathLst>
            </a:custGeom>
            <a:solidFill>
              <a:srgbClr val="54A0FF"/>
            </a:solidFill>
            <a:ln w="9525" cap="flat">
              <a:noFill/>
              <a:prstDash val="solid"/>
              <a:miter/>
            </a:ln>
          </p:spPr>
          <p:txBody>
            <a:bodyPr rtlCol="0" anchor="ctr"/>
            <a:lstStyle/>
            <a:p>
              <a:endParaRPr lang="en-US" sz="1568"/>
            </a:p>
          </p:txBody>
        </p:sp>
        <p:sp>
          <p:nvSpPr>
            <p:cNvPr id="18" name="Freeform: Shape 17">
              <a:extLst>
                <a:ext uri="{FF2B5EF4-FFF2-40B4-BE49-F238E27FC236}">
                  <a16:creationId xmlns:a16="http://schemas.microsoft.com/office/drawing/2014/main" id="{7CAD6E6B-6194-4E20-AF9D-8E058C0FC04B}"/>
                </a:ext>
              </a:extLst>
            </p:cNvPr>
            <p:cNvSpPr/>
            <p:nvPr/>
          </p:nvSpPr>
          <p:spPr>
            <a:xfrm>
              <a:off x="5882062" y="5000319"/>
              <a:ext cx="277682" cy="474271"/>
            </a:xfrm>
            <a:custGeom>
              <a:avLst/>
              <a:gdLst>
                <a:gd name="connsiteX0" fmla="*/ 77776 w 277682"/>
                <a:gd name="connsiteY0" fmla="*/ 237996 h 474271"/>
                <a:gd name="connsiteX1" fmla="*/ 276085 w 277682"/>
                <a:gd name="connsiteY1" fmla="*/ 4792 h 474271"/>
                <a:gd name="connsiteX2" fmla="*/ 237996 w 277682"/>
                <a:gd name="connsiteY2" fmla="*/ 1843 h 474271"/>
                <a:gd name="connsiteX3" fmla="*/ 1843 w 277682"/>
                <a:gd name="connsiteY3" fmla="*/ 237996 h 474271"/>
                <a:gd name="connsiteX4" fmla="*/ 237996 w 277682"/>
                <a:gd name="connsiteY4" fmla="*/ 474148 h 474271"/>
                <a:gd name="connsiteX5" fmla="*/ 276085 w 277682"/>
                <a:gd name="connsiteY5" fmla="*/ 471199 h 474271"/>
                <a:gd name="connsiteX6" fmla="*/ 77776 w 277682"/>
                <a:gd name="connsiteY6" fmla="*/ 237996 h 474271"/>
                <a:gd name="connsiteX7" fmla="*/ 77776 w 277682"/>
                <a:gd name="connsiteY7" fmla="*/ 237996 h 474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682" h="474271">
                  <a:moveTo>
                    <a:pt x="77776" y="237996"/>
                  </a:moveTo>
                  <a:cubicBezTo>
                    <a:pt x="77776" y="120534"/>
                    <a:pt x="163538" y="22976"/>
                    <a:pt x="276085" y="4792"/>
                  </a:cubicBezTo>
                  <a:cubicBezTo>
                    <a:pt x="263798" y="2826"/>
                    <a:pt x="251020" y="1843"/>
                    <a:pt x="237996" y="1843"/>
                  </a:cubicBezTo>
                  <a:cubicBezTo>
                    <a:pt x="107510" y="1843"/>
                    <a:pt x="1843" y="107510"/>
                    <a:pt x="1843" y="237996"/>
                  </a:cubicBezTo>
                  <a:cubicBezTo>
                    <a:pt x="1843" y="368482"/>
                    <a:pt x="107510" y="474148"/>
                    <a:pt x="237996" y="474148"/>
                  </a:cubicBezTo>
                  <a:cubicBezTo>
                    <a:pt x="251020" y="474148"/>
                    <a:pt x="263552" y="473165"/>
                    <a:pt x="276085" y="471199"/>
                  </a:cubicBezTo>
                  <a:cubicBezTo>
                    <a:pt x="163538" y="453015"/>
                    <a:pt x="77776" y="355458"/>
                    <a:pt x="77776" y="237996"/>
                  </a:cubicBezTo>
                  <a:lnTo>
                    <a:pt x="77776" y="237996"/>
                  </a:lnTo>
                  <a:close/>
                </a:path>
              </a:pathLst>
            </a:custGeom>
            <a:solidFill>
              <a:srgbClr val="338DEF"/>
            </a:solidFill>
            <a:ln w="9525" cap="flat">
              <a:noFill/>
              <a:prstDash val="solid"/>
              <a:miter/>
            </a:ln>
          </p:spPr>
          <p:txBody>
            <a:bodyPr rtlCol="0" anchor="ctr"/>
            <a:lstStyle/>
            <a:p>
              <a:endParaRPr lang="en-US" sz="1568"/>
            </a:p>
          </p:txBody>
        </p:sp>
        <p:sp>
          <p:nvSpPr>
            <p:cNvPr id="20" name="Freeform: Shape 19">
              <a:extLst>
                <a:ext uri="{FF2B5EF4-FFF2-40B4-BE49-F238E27FC236}">
                  <a16:creationId xmlns:a16="http://schemas.microsoft.com/office/drawing/2014/main" id="{ECA30BA3-938C-4623-8258-029471B9F88F}"/>
                </a:ext>
              </a:extLst>
            </p:cNvPr>
            <p:cNvSpPr/>
            <p:nvPr/>
          </p:nvSpPr>
          <p:spPr>
            <a:xfrm>
              <a:off x="6047688" y="5066422"/>
              <a:ext cx="142527" cy="142527"/>
            </a:xfrm>
            <a:custGeom>
              <a:avLst/>
              <a:gdLst>
                <a:gd name="connsiteX0" fmla="*/ 142404 w 142527"/>
                <a:gd name="connsiteY0" fmla="*/ 72124 h 142527"/>
                <a:gd name="connsiteX1" fmla="*/ 72124 w 142527"/>
                <a:gd name="connsiteY1" fmla="*/ 142404 h 142527"/>
                <a:gd name="connsiteX2" fmla="*/ 1843 w 142527"/>
                <a:gd name="connsiteY2" fmla="*/ 72124 h 142527"/>
                <a:gd name="connsiteX3" fmla="*/ 72124 w 142527"/>
                <a:gd name="connsiteY3" fmla="*/ 1843 h 142527"/>
                <a:gd name="connsiteX4" fmla="*/ 142404 w 142527"/>
                <a:gd name="connsiteY4" fmla="*/ 72124 h 142527"/>
                <a:gd name="connsiteX5" fmla="*/ 142404 w 142527"/>
                <a:gd name="connsiteY5"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527" h="142527">
                  <a:moveTo>
                    <a:pt x="142404" y="72124"/>
                  </a:moveTo>
                  <a:cubicBezTo>
                    <a:pt x="142404" y="110950"/>
                    <a:pt x="110950" y="142404"/>
                    <a:pt x="72124" y="142404"/>
                  </a:cubicBezTo>
                  <a:cubicBezTo>
                    <a:pt x="33297" y="142404"/>
                    <a:pt x="1843" y="110950"/>
                    <a:pt x="1843" y="72124"/>
                  </a:cubicBezTo>
                  <a:cubicBezTo>
                    <a:pt x="1843" y="33297"/>
                    <a:pt x="33297" y="1843"/>
                    <a:pt x="72124" y="1843"/>
                  </a:cubicBezTo>
                  <a:cubicBezTo>
                    <a:pt x="110950" y="2089"/>
                    <a:pt x="142404" y="33543"/>
                    <a:pt x="142404" y="72124"/>
                  </a:cubicBezTo>
                  <a:lnTo>
                    <a:pt x="142404" y="72124"/>
                  </a:lnTo>
                  <a:close/>
                </a:path>
              </a:pathLst>
            </a:custGeom>
            <a:solidFill>
              <a:srgbClr val="FFCDBF"/>
            </a:solidFill>
            <a:ln w="9525" cap="flat">
              <a:noFill/>
              <a:prstDash val="solid"/>
              <a:miter/>
            </a:ln>
          </p:spPr>
          <p:txBody>
            <a:bodyPr rtlCol="0" anchor="ctr"/>
            <a:lstStyle/>
            <a:p>
              <a:endParaRPr lang="en-US" sz="1568"/>
            </a:p>
          </p:txBody>
        </p:sp>
        <p:sp>
          <p:nvSpPr>
            <p:cNvPr id="21" name="Freeform: Shape 20">
              <a:extLst>
                <a:ext uri="{FF2B5EF4-FFF2-40B4-BE49-F238E27FC236}">
                  <a16:creationId xmlns:a16="http://schemas.microsoft.com/office/drawing/2014/main" id="{E57F3969-2F3B-479D-8598-4E62D2089150}"/>
                </a:ext>
              </a:extLst>
            </p:cNvPr>
            <p:cNvSpPr/>
            <p:nvPr/>
          </p:nvSpPr>
          <p:spPr>
            <a:xfrm>
              <a:off x="6003210" y="5206984"/>
              <a:ext cx="230992" cy="176930"/>
            </a:xfrm>
            <a:custGeom>
              <a:avLst/>
              <a:gdLst>
                <a:gd name="connsiteX0" fmla="*/ 156411 w 230992"/>
                <a:gd name="connsiteY0" fmla="*/ 1843 h 176930"/>
                <a:gd name="connsiteX1" fmla="*/ 77038 w 230992"/>
                <a:gd name="connsiteY1" fmla="*/ 1843 h 176930"/>
                <a:gd name="connsiteX2" fmla="*/ 1843 w 230992"/>
                <a:gd name="connsiteY2" fmla="*/ 77038 h 176930"/>
                <a:gd name="connsiteX3" fmla="*/ 1843 w 230992"/>
                <a:gd name="connsiteY3" fmla="*/ 164029 h 176930"/>
                <a:gd name="connsiteX4" fmla="*/ 14621 w 230992"/>
                <a:gd name="connsiteY4" fmla="*/ 176807 h 176930"/>
                <a:gd name="connsiteX5" fmla="*/ 218828 w 230992"/>
                <a:gd name="connsiteY5" fmla="*/ 176807 h 176930"/>
                <a:gd name="connsiteX6" fmla="*/ 231606 w 230992"/>
                <a:gd name="connsiteY6" fmla="*/ 164029 h 176930"/>
                <a:gd name="connsiteX7" fmla="*/ 231606 w 230992"/>
                <a:gd name="connsiteY7" fmla="*/ 77038 h 176930"/>
                <a:gd name="connsiteX8" fmla="*/ 156411 w 230992"/>
                <a:gd name="connsiteY8" fmla="*/ 1843 h 176930"/>
                <a:gd name="connsiteX9" fmla="*/ 156411 w 230992"/>
                <a:gd name="connsiteY9" fmla="*/ 1843 h 176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0992" h="176930">
                  <a:moveTo>
                    <a:pt x="156411" y="1843"/>
                  </a:moveTo>
                  <a:lnTo>
                    <a:pt x="77038" y="1843"/>
                  </a:lnTo>
                  <a:cubicBezTo>
                    <a:pt x="35755" y="1843"/>
                    <a:pt x="1843" y="35755"/>
                    <a:pt x="1843" y="77038"/>
                  </a:cubicBezTo>
                  <a:lnTo>
                    <a:pt x="1843" y="164029"/>
                  </a:lnTo>
                  <a:cubicBezTo>
                    <a:pt x="1843" y="171155"/>
                    <a:pt x="7495" y="176807"/>
                    <a:pt x="14621" y="176807"/>
                  </a:cubicBezTo>
                  <a:lnTo>
                    <a:pt x="218828" y="176807"/>
                  </a:lnTo>
                  <a:cubicBezTo>
                    <a:pt x="225955" y="176807"/>
                    <a:pt x="231606" y="171155"/>
                    <a:pt x="231606" y="164029"/>
                  </a:cubicBezTo>
                  <a:lnTo>
                    <a:pt x="231606" y="77038"/>
                  </a:lnTo>
                  <a:cubicBezTo>
                    <a:pt x="231606" y="35509"/>
                    <a:pt x="197695" y="1843"/>
                    <a:pt x="156411" y="1843"/>
                  </a:cubicBezTo>
                  <a:lnTo>
                    <a:pt x="156411" y="1843"/>
                  </a:lnTo>
                  <a:close/>
                </a:path>
              </a:pathLst>
            </a:custGeom>
            <a:solidFill>
              <a:srgbClr val="FECA57"/>
            </a:solidFill>
            <a:ln w="9525" cap="flat">
              <a:noFill/>
              <a:prstDash val="solid"/>
              <a:miter/>
            </a:ln>
          </p:spPr>
          <p:txBody>
            <a:bodyPr rtlCol="0" anchor="ctr"/>
            <a:lstStyle/>
            <a:p>
              <a:endParaRPr lang="en-US" sz="1568"/>
            </a:p>
          </p:txBody>
        </p:sp>
        <p:sp>
          <p:nvSpPr>
            <p:cNvPr id="22" name="Freeform: Shape 21">
              <a:extLst>
                <a:ext uri="{FF2B5EF4-FFF2-40B4-BE49-F238E27FC236}">
                  <a16:creationId xmlns:a16="http://schemas.microsoft.com/office/drawing/2014/main" id="{F58EC69F-12DB-4639-9091-B9679D79980F}"/>
                </a:ext>
              </a:extLst>
            </p:cNvPr>
            <p:cNvSpPr/>
            <p:nvPr/>
          </p:nvSpPr>
          <p:spPr>
            <a:xfrm>
              <a:off x="6003210" y="5206984"/>
              <a:ext cx="127783" cy="176930"/>
            </a:xfrm>
            <a:custGeom>
              <a:avLst/>
              <a:gdLst>
                <a:gd name="connsiteX0" fmla="*/ 52465 w 127782"/>
                <a:gd name="connsiteY0" fmla="*/ 164029 h 176930"/>
                <a:gd name="connsiteX1" fmla="*/ 52465 w 127782"/>
                <a:gd name="connsiteY1" fmla="*/ 77038 h 176930"/>
                <a:gd name="connsiteX2" fmla="*/ 127660 w 127782"/>
                <a:gd name="connsiteY2" fmla="*/ 1843 h 176930"/>
                <a:gd name="connsiteX3" fmla="*/ 77038 w 127782"/>
                <a:gd name="connsiteY3" fmla="*/ 1843 h 176930"/>
                <a:gd name="connsiteX4" fmla="*/ 1843 w 127782"/>
                <a:gd name="connsiteY4" fmla="*/ 77038 h 176930"/>
                <a:gd name="connsiteX5" fmla="*/ 1843 w 127782"/>
                <a:gd name="connsiteY5" fmla="*/ 164029 h 176930"/>
                <a:gd name="connsiteX6" fmla="*/ 14621 w 127782"/>
                <a:gd name="connsiteY6" fmla="*/ 176807 h 176930"/>
                <a:gd name="connsiteX7" fmla="*/ 65243 w 127782"/>
                <a:gd name="connsiteY7" fmla="*/ 176807 h 176930"/>
                <a:gd name="connsiteX8" fmla="*/ 52465 w 127782"/>
                <a:gd name="connsiteY8" fmla="*/ 164029 h 176930"/>
                <a:gd name="connsiteX9" fmla="*/ 52465 w 127782"/>
                <a:gd name="connsiteY9" fmla="*/ 164029 h 176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82" h="176930">
                  <a:moveTo>
                    <a:pt x="52465" y="164029"/>
                  </a:moveTo>
                  <a:lnTo>
                    <a:pt x="52465" y="77038"/>
                  </a:lnTo>
                  <a:cubicBezTo>
                    <a:pt x="52465" y="35755"/>
                    <a:pt x="86376" y="1843"/>
                    <a:pt x="127660" y="1843"/>
                  </a:cubicBezTo>
                  <a:lnTo>
                    <a:pt x="77038" y="1843"/>
                  </a:lnTo>
                  <a:cubicBezTo>
                    <a:pt x="35755" y="1843"/>
                    <a:pt x="1843" y="35755"/>
                    <a:pt x="1843" y="77038"/>
                  </a:cubicBezTo>
                  <a:lnTo>
                    <a:pt x="1843" y="164029"/>
                  </a:lnTo>
                  <a:cubicBezTo>
                    <a:pt x="1843" y="171155"/>
                    <a:pt x="7495" y="176807"/>
                    <a:pt x="14621" y="176807"/>
                  </a:cubicBezTo>
                  <a:lnTo>
                    <a:pt x="65243" y="176807"/>
                  </a:lnTo>
                  <a:cubicBezTo>
                    <a:pt x="58117" y="176807"/>
                    <a:pt x="52465" y="171155"/>
                    <a:pt x="52465" y="164029"/>
                  </a:cubicBezTo>
                  <a:lnTo>
                    <a:pt x="52465" y="164029"/>
                  </a:lnTo>
                  <a:close/>
                </a:path>
              </a:pathLst>
            </a:custGeom>
            <a:solidFill>
              <a:srgbClr val="F4B537"/>
            </a:solidFill>
            <a:ln w="9525" cap="flat">
              <a:noFill/>
              <a:prstDash val="solid"/>
              <a:miter/>
            </a:ln>
          </p:spPr>
          <p:txBody>
            <a:bodyPr rtlCol="0" anchor="ctr"/>
            <a:lstStyle/>
            <a:p>
              <a:endParaRPr lang="en-US" sz="1568"/>
            </a:p>
          </p:txBody>
        </p:sp>
        <p:sp>
          <p:nvSpPr>
            <p:cNvPr id="23" name="Freeform: Shape 22">
              <a:extLst>
                <a:ext uri="{FF2B5EF4-FFF2-40B4-BE49-F238E27FC236}">
                  <a16:creationId xmlns:a16="http://schemas.microsoft.com/office/drawing/2014/main" id="{62B9901C-A908-4BDE-A217-8CECEF4E414D}"/>
                </a:ext>
              </a:extLst>
            </p:cNvPr>
            <p:cNvSpPr/>
            <p:nvPr/>
          </p:nvSpPr>
          <p:spPr>
            <a:xfrm>
              <a:off x="6042036" y="5260554"/>
              <a:ext cx="39318" cy="122868"/>
            </a:xfrm>
            <a:custGeom>
              <a:avLst/>
              <a:gdLst>
                <a:gd name="connsiteX0" fmla="*/ 39686 w 39317"/>
                <a:gd name="connsiteY0" fmla="*/ 123237 h 122868"/>
                <a:gd name="connsiteX1" fmla="*/ 39686 w 39317"/>
                <a:gd name="connsiteY1" fmla="*/ 20765 h 122868"/>
                <a:gd name="connsiteX2" fmla="*/ 20765 w 39317"/>
                <a:gd name="connsiteY2" fmla="*/ 1843 h 122868"/>
                <a:gd name="connsiteX3" fmla="*/ 1843 w 39317"/>
                <a:gd name="connsiteY3" fmla="*/ 20765 h 122868"/>
                <a:gd name="connsiteX4" fmla="*/ 1843 w 39317"/>
                <a:gd name="connsiteY4" fmla="*/ 123237 h 122868"/>
                <a:gd name="connsiteX5" fmla="*/ 39686 w 39317"/>
                <a:gd name="connsiteY5" fmla="*/ 123237 h 12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17" h="122868">
                  <a:moveTo>
                    <a:pt x="39686" y="123237"/>
                  </a:moveTo>
                  <a:lnTo>
                    <a:pt x="39686" y="20765"/>
                  </a:lnTo>
                  <a:cubicBezTo>
                    <a:pt x="39686" y="10198"/>
                    <a:pt x="31086" y="1843"/>
                    <a:pt x="20765" y="1843"/>
                  </a:cubicBezTo>
                  <a:cubicBezTo>
                    <a:pt x="10198" y="1843"/>
                    <a:pt x="1843" y="10444"/>
                    <a:pt x="1843" y="20765"/>
                  </a:cubicBezTo>
                  <a:lnTo>
                    <a:pt x="1843" y="123237"/>
                  </a:lnTo>
                  <a:lnTo>
                    <a:pt x="39686" y="123237"/>
                  </a:lnTo>
                  <a:close/>
                </a:path>
              </a:pathLst>
            </a:custGeom>
            <a:solidFill>
              <a:srgbClr val="F4B537"/>
            </a:solidFill>
            <a:ln w="9525" cap="flat">
              <a:noFill/>
              <a:prstDash val="solid"/>
              <a:miter/>
            </a:ln>
          </p:spPr>
          <p:txBody>
            <a:bodyPr rtlCol="0" anchor="ctr"/>
            <a:lstStyle/>
            <a:p>
              <a:endParaRPr lang="en-US" sz="1568"/>
            </a:p>
          </p:txBody>
        </p:sp>
        <p:sp>
          <p:nvSpPr>
            <p:cNvPr id="24" name="Freeform: Shape 23">
              <a:extLst>
                <a:ext uri="{FF2B5EF4-FFF2-40B4-BE49-F238E27FC236}">
                  <a16:creationId xmlns:a16="http://schemas.microsoft.com/office/drawing/2014/main" id="{BB5FEB3E-B199-40AB-979B-16115E29CA8E}"/>
                </a:ext>
              </a:extLst>
            </p:cNvPr>
            <p:cNvSpPr/>
            <p:nvPr/>
          </p:nvSpPr>
          <p:spPr>
            <a:xfrm>
              <a:off x="6156303" y="5260554"/>
              <a:ext cx="39318" cy="122868"/>
            </a:xfrm>
            <a:custGeom>
              <a:avLst/>
              <a:gdLst>
                <a:gd name="connsiteX0" fmla="*/ 39686 w 39317"/>
                <a:gd name="connsiteY0" fmla="*/ 20765 h 122868"/>
                <a:gd name="connsiteX1" fmla="*/ 20765 w 39317"/>
                <a:gd name="connsiteY1" fmla="*/ 1843 h 122868"/>
                <a:gd name="connsiteX2" fmla="*/ 1843 w 39317"/>
                <a:gd name="connsiteY2" fmla="*/ 20765 h 122868"/>
                <a:gd name="connsiteX3" fmla="*/ 1843 w 39317"/>
                <a:gd name="connsiteY3" fmla="*/ 123237 h 122868"/>
                <a:gd name="connsiteX4" fmla="*/ 39686 w 39317"/>
                <a:gd name="connsiteY4" fmla="*/ 123237 h 122868"/>
                <a:gd name="connsiteX5" fmla="*/ 39686 w 39317"/>
                <a:gd name="connsiteY5" fmla="*/ 20765 h 12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17" h="122868">
                  <a:moveTo>
                    <a:pt x="39686" y="20765"/>
                  </a:moveTo>
                  <a:cubicBezTo>
                    <a:pt x="39686" y="10198"/>
                    <a:pt x="31086" y="1843"/>
                    <a:pt x="20765" y="1843"/>
                  </a:cubicBezTo>
                  <a:cubicBezTo>
                    <a:pt x="10198" y="1843"/>
                    <a:pt x="1843" y="10444"/>
                    <a:pt x="1843" y="20765"/>
                  </a:cubicBezTo>
                  <a:lnTo>
                    <a:pt x="1843" y="123237"/>
                  </a:lnTo>
                  <a:lnTo>
                    <a:pt x="39686" y="123237"/>
                  </a:lnTo>
                  <a:lnTo>
                    <a:pt x="39686" y="20765"/>
                  </a:lnTo>
                  <a:close/>
                </a:path>
              </a:pathLst>
            </a:custGeom>
            <a:solidFill>
              <a:srgbClr val="F4B537"/>
            </a:solidFill>
            <a:ln w="9525" cap="flat">
              <a:noFill/>
              <a:prstDash val="solid"/>
              <a:miter/>
            </a:ln>
          </p:spPr>
          <p:txBody>
            <a:bodyPr rtlCol="0" anchor="ctr"/>
            <a:lstStyle/>
            <a:p>
              <a:endParaRPr lang="en-US" sz="1568"/>
            </a:p>
          </p:txBody>
        </p:sp>
        <p:sp>
          <p:nvSpPr>
            <p:cNvPr id="25" name="Freeform: Shape 24">
              <a:extLst>
                <a:ext uri="{FF2B5EF4-FFF2-40B4-BE49-F238E27FC236}">
                  <a16:creationId xmlns:a16="http://schemas.microsoft.com/office/drawing/2014/main" id="{B685CF85-77EE-4BF2-954F-A83C30AFB1E1}"/>
                </a:ext>
              </a:extLst>
            </p:cNvPr>
            <p:cNvSpPr/>
            <p:nvPr/>
          </p:nvSpPr>
          <p:spPr>
            <a:xfrm>
              <a:off x="6471092" y="5300609"/>
              <a:ext cx="142527" cy="142527"/>
            </a:xfrm>
            <a:custGeom>
              <a:avLst/>
              <a:gdLst>
                <a:gd name="connsiteX0" fmla="*/ 142404 w 142527"/>
                <a:gd name="connsiteY0" fmla="*/ 72124 h 142527"/>
                <a:gd name="connsiteX1" fmla="*/ 72124 w 142527"/>
                <a:gd name="connsiteY1" fmla="*/ 142158 h 142527"/>
                <a:gd name="connsiteX2" fmla="*/ 1843 w 142527"/>
                <a:gd name="connsiteY2" fmla="*/ 72124 h 142527"/>
                <a:gd name="connsiteX3" fmla="*/ 72124 w 142527"/>
                <a:gd name="connsiteY3" fmla="*/ 1843 h 142527"/>
                <a:gd name="connsiteX4" fmla="*/ 142404 w 142527"/>
                <a:gd name="connsiteY4" fmla="*/ 72124 h 142527"/>
                <a:gd name="connsiteX5" fmla="*/ 142404 w 142527"/>
                <a:gd name="connsiteY5"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527" h="142527">
                  <a:moveTo>
                    <a:pt x="142404" y="72124"/>
                  </a:moveTo>
                  <a:cubicBezTo>
                    <a:pt x="142404" y="110950"/>
                    <a:pt x="110950" y="142158"/>
                    <a:pt x="72124" y="142158"/>
                  </a:cubicBezTo>
                  <a:cubicBezTo>
                    <a:pt x="33297" y="142158"/>
                    <a:pt x="1843" y="110704"/>
                    <a:pt x="1843" y="72124"/>
                  </a:cubicBezTo>
                  <a:cubicBezTo>
                    <a:pt x="1843" y="33297"/>
                    <a:pt x="33297" y="1843"/>
                    <a:pt x="72124" y="1843"/>
                  </a:cubicBezTo>
                  <a:cubicBezTo>
                    <a:pt x="110950" y="2089"/>
                    <a:pt x="142404" y="33543"/>
                    <a:pt x="142404" y="72124"/>
                  </a:cubicBezTo>
                  <a:lnTo>
                    <a:pt x="142404" y="72124"/>
                  </a:lnTo>
                  <a:close/>
                </a:path>
              </a:pathLst>
            </a:custGeom>
            <a:solidFill>
              <a:srgbClr val="FFCDBF"/>
            </a:solidFill>
            <a:ln w="9525" cap="flat">
              <a:noFill/>
              <a:prstDash val="solid"/>
              <a:miter/>
            </a:ln>
          </p:spPr>
          <p:txBody>
            <a:bodyPr rtlCol="0" anchor="ctr"/>
            <a:lstStyle/>
            <a:p>
              <a:endParaRPr lang="en-US" sz="1568"/>
            </a:p>
          </p:txBody>
        </p:sp>
        <p:sp>
          <p:nvSpPr>
            <p:cNvPr id="26" name="Freeform: Shape 25">
              <a:extLst>
                <a:ext uri="{FF2B5EF4-FFF2-40B4-BE49-F238E27FC236}">
                  <a16:creationId xmlns:a16="http://schemas.microsoft.com/office/drawing/2014/main" id="{58609F82-6F6D-40C5-BFCB-7A4CB68EAE3C}"/>
                </a:ext>
              </a:extLst>
            </p:cNvPr>
            <p:cNvSpPr/>
            <p:nvPr/>
          </p:nvSpPr>
          <p:spPr>
            <a:xfrm>
              <a:off x="6426613" y="5441170"/>
              <a:ext cx="233449" cy="149899"/>
            </a:xfrm>
            <a:custGeom>
              <a:avLst/>
              <a:gdLst>
                <a:gd name="connsiteX0" fmla="*/ 156411 w 233449"/>
                <a:gd name="connsiteY0" fmla="*/ 1843 h 149899"/>
                <a:gd name="connsiteX1" fmla="*/ 77038 w 233449"/>
                <a:gd name="connsiteY1" fmla="*/ 1843 h 149899"/>
                <a:gd name="connsiteX2" fmla="*/ 1843 w 233449"/>
                <a:gd name="connsiteY2" fmla="*/ 77038 h 149899"/>
                <a:gd name="connsiteX3" fmla="*/ 1843 w 233449"/>
                <a:gd name="connsiteY3" fmla="*/ 135769 h 149899"/>
                <a:gd name="connsiteX4" fmla="*/ 14621 w 233449"/>
                <a:gd name="connsiteY4" fmla="*/ 148548 h 149899"/>
                <a:gd name="connsiteX5" fmla="*/ 218828 w 233449"/>
                <a:gd name="connsiteY5" fmla="*/ 148548 h 149899"/>
                <a:gd name="connsiteX6" fmla="*/ 231606 w 233449"/>
                <a:gd name="connsiteY6" fmla="*/ 135769 h 149899"/>
                <a:gd name="connsiteX7" fmla="*/ 231606 w 233449"/>
                <a:gd name="connsiteY7" fmla="*/ 77038 h 149899"/>
                <a:gd name="connsiteX8" fmla="*/ 156411 w 233449"/>
                <a:gd name="connsiteY8" fmla="*/ 1843 h 149899"/>
                <a:gd name="connsiteX9" fmla="*/ 156411 w 233449"/>
                <a:gd name="connsiteY9" fmla="*/ 1843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3449" h="149899">
                  <a:moveTo>
                    <a:pt x="156411" y="1843"/>
                  </a:moveTo>
                  <a:lnTo>
                    <a:pt x="77038" y="1843"/>
                  </a:lnTo>
                  <a:cubicBezTo>
                    <a:pt x="35755" y="1843"/>
                    <a:pt x="1843" y="35755"/>
                    <a:pt x="1843" y="77038"/>
                  </a:cubicBezTo>
                  <a:lnTo>
                    <a:pt x="1843" y="135769"/>
                  </a:lnTo>
                  <a:cubicBezTo>
                    <a:pt x="1843" y="142896"/>
                    <a:pt x="7495" y="148548"/>
                    <a:pt x="14621" y="148548"/>
                  </a:cubicBezTo>
                  <a:lnTo>
                    <a:pt x="218828" y="148548"/>
                  </a:lnTo>
                  <a:cubicBezTo>
                    <a:pt x="225954" y="148548"/>
                    <a:pt x="231606" y="142896"/>
                    <a:pt x="231606" y="135769"/>
                  </a:cubicBezTo>
                  <a:lnTo>
                    <a:pt x="231606" y="77038"/>
                  </a:lnTo>
                  <a:cubicBezTo>
                    <a:pt x="231606" y="35509"/>
                    <a:pt x="197695" y="1843"/>
                    <a:pt x="156411" y="1843"/>
                  </a:cubicBezTo>
                  <a:lnTo>
                    <a:pt x="156411" y="1843"/>
                  </a:lnTo>
                  <a:close/>
                </a:path>
              </a:pathLst>
            </a:custGeom>
            <a:solidFill>
              <a:srgbClr val="FF6B6B"/>
            </a:solidFill>
            <a:ln w="9525" cap="flat">
              <a:noFill/>
              <a:prstDash val="solid"/>
              <a:miter/>
            </a:ln>
          </p:spPr>
          <p:txBody>
            <a:bodyPr rtlCol="0" anchor="ctr"/>
            <a:lstStyle/>
            <a:p>
              <a:endParaRPr lang="en-US" sz="1568"/>
            </a:p>
          </p:txBody>
        </p:sp>
        <p:sp>
          <p:nvSpPr>
            <p:cNvPr id="28" name="Freeform: Shape 27">
              <a:extLst>
                <a:ext uri="{FF2B5EF4-FFF2-40B4-BE49-F238E27FC236}">
                  <a16:creationId xmlns:a16="http://schemas.microsoft.com/office/drawing/2014/main" id="{F50495F5-B21B-4932-B539-76AB37830362}"/>
                </a:ext>
              </a:extLst>
            </p:cNvPr>
            <p:cNvSpPr/>
            <p:nvPr/>
          </p:nvSpPr>
          <p:spPr>
            <a:xfrm>
              <a:off x="6426613" y="5441170"/>
              <a:ext cx="127783" cy="149899"/>
            </a:xfrm>
            <a:custGeom>
              <a:avLst/>
              <a:gdLst>
                <a:gd name="connsiteX0" fmla="*/ 52465 w 127782"/>
                <a:gd name="connsiteY0" fmla="*/ 135769 h 149899"/>
                <a:gd name="connsiteX1" fmla="*/ 52465 w 127782"/>
                <a:gd name="connsiteY1" fmla="*/ 77038 h 149899"/>
                <a:gd name="connsiteX2" fmla="*/ 127660 w 127782"/>
                <a:gd name="connsiteY2" fmla="*/ 1843 h 149899"/>
                <a:gd name="connsiteX3" fmla="*/ 77038 w 127782"/>
                <a:gd name="connsiteY3" fmla="*/ 1843 h 149899"/>
                <a:gd name="connsiteX4" fmla="*/ 1843 w 127782"/>
                <a:gd name="connsiteY4" fmla="*/ 77038 h 149899"/>
                <a:gd name="connsiteX5" fmla="*/ 1843 w 127782"/>
                <a:gd name="connsiteY5" fmla="*/ 135769 h 149899"/>
                <a:gd name="connsiteX6" fmla="*/ 14621 w 127782"/>
                <a:gd name="connsiteY6" fmla="*/ 148548 h 149899"/>
                <a:gd name="connsiteX7" fmla="*/ 65243 w 127782"/>
                <a:gd name="connsiteY7" fmla="*/ 148548 h 149899"/>
                <a:gd name="connsiteX8" fmla="*/ 52465 w 127782"/>
                <a:gd name="connsiteY8" fmla="*/ 135769 h 149899"/>
                <a:gd name="connsiteX9" fmla="*/ 52465 w 127782"/>
                <a:gd name="connsiteY9" fmla="*/ 135769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82" h="149899">
                  <a:moveTo>
                    <a:pt x="52465" y="135769"/>
                  </a:moveTo>
                  <a:lnTo>
                    <a:pt x="52465" y="77038"/>
                  </a:lnTo>
                  <a:cubicBezTo>
                    <a:pt x="52465" y="35755"/>
                    <a:pt x="86376" y="1843"/>
                    <a:pt x="127660" y="1843"/>
                  </a:cubicBezTo>
                  <a:lnTo>
                    <a:pt x="77038" y="1843"/>
                  </a:lnTo>
                  <a:cubicBezTo>
                    <a:pt x="35755" y="1843"/>
                    <a:pt x="1843" y="35755"/>
                    <a:pt x="1843" y="77038"/>
                  </a:cubicBezTo>
                  <a:lnTo>
                    <a:pt x="1843" y="135769"/>
                  </a:lnTo>
                  <a:cubicBezTo>
                    <a:pt x="1843" y="142896"/>
                    <a:pt x="7495" y="148548"/>
                    <a:pt x="14621" y="148548"/>
                  </a:cubicBezTo>
                  <a:lnTo>
                    <a:pt x="65243" y="148548"/>
                  </a:lnTo>
                  <a:cubicBezTo>
                    <a:pt x="58117" y="148548"/>
                    <a:pt x="52465" y="142896"/>
                    <a:pt x="52465" y="135769"/>
                  </a:cubicBezTo>
                  <a:lnTo>
                    <a:pt x="52465" y="135769"/>
                  </a:lnTo>
                  <a:close/>
                </a:path>
              </a:pathLst>
            </a:custGeom>
            <a:solidFill>
              <a:srgbClr val="EE5253"/>
            </a:solidFill>
            <a:ln w="9525" cap="flat">
              <a:noFill/>
              <a:prstDash val="solid"/>
              <a:miter/>
            </a:ln>
          </p:spPr>
          <p:txBody>
            <a:bodyPr rtlCol="0" anchor="ctr"/>
            <a:lstStyle/>
            <a:p>
              <a:endParaRPr lang="en-US" sz="1568"/>
            </a:p>
          </p:txBody>
        </p:sp>
        <p:sp>
          <p:nvSpPr>
            <p:cNvPr id="29" name="Freeform: Shape 28">
              <a:extLst>
                <a:ext uri="{FF2B5EF4-FFF2-40B4-BE49-F238E27FC236}">
                  <a16:creationId xmlns:a16="http://schemas.microsoft.com/office/drawing/2014/main" id="{91E77C0D-DB2F-4D1F-8ECF-A8B47ED0E50C}"/>
                </a:ext>
              </a:extLst>
            </p:cNvPr>
            <p:cNvSpPr/>
            <p:nvPr/>
          </p:nvSpPr>
          <p:spPr>
            <a:xfrm>
              <a:off x="6579707" y="5494741"/>
              <a:ext cx="41775" cy="95837"/>
            </a:xfrm>
            <a:custGeom>
              <a:avLst/>
              <a:gdLst>
                <a:gd name="connsiteX0" fmla="*/ 39686 w 41775"/>
                <a:gd name="connsiteY0" fmla="*/ 20765 h 95837"/>
                <a:gd name="connsiteX1" fmla="*/ 20765 w 41775"/>
                <a:gd name="connsiteY1" fmla="*/ 1843 h 95837"/>
                <a:gd name="connsiteX2" fmla="*/ 1843 w 41775"/>
                <a:gd name="connsiteY2" fmla="*/ 20765 h 95837"/>
                <a:gd name="connsiteX3" fmla="*/ 1843 w 41775"/>
                <a:gd name="connsiteY3" fmla="*/ 94977 h 95837"/>
                <a:gd name="connsiteX4" fmla="*/ 39932 w 41775"/>
                <a:gd name="connsiteY4" fmla="*/ 94977 h 95837"/>
                <a:gd name="connsiteX5" fmla="*/ 39932 w 41775"/>
                <a:gd name="connsiteY5" fmla="*/ 20765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775" h="95837">
                  <a:moveTo>
                    <a:pt x="39686" y="20765"/>
                  </a:moveTo>
                  <a:cubicBezTo>
                    <a:pt x="39686" y="10198"/>
                    <a:pt x="31086" y="1843"/>
                    <a:pt x="20765" y="1843"/>
                  </a:cubicBezTo>
                  <a:cubicBezTo>
                    <a:pt x="10198" y="1843"/>
                    <a:pt x="1843" y="10444"/>
                    <a:pt x="1843" y="20765"/>
                  </a:cubicBezTo>
                  <a:lnTo>
                    <a:pt x="1843" y="94977"/>
                  </a:lnTo>
                  <a:lnTo>
                    <a:pt x="39932" y="94977"/>
                  </a:lnTo>
                  <a:lnTo>
                    <a:pt x="39932" y="20765"/>
                  </a:lnTo>
                  <a:close/>
                </a:path>
              </a:pathLst>
            </a:custGeom>
            <a:solidFill>
              <a:srgbClr val="EE5253"/>
            </a:solidFill>
            <a:ln w="9525" cap="flat">
              <a:noFill/>
              <a:prstDash val="solid"/>
              <a:miter/>
            </a:ln>
          </p:spPr>
          <p:txBody>
            <a:bodyPr rtlCol="0" anchor="ctr"/>
            <a:lstStyle/>
            <a:p>
              <a:endParaRPr lang="en-US" sz="1568"/>
            </a:p>
          </p:txBody>
        </p:sp>
        <p:sp>
          <p:nvSpPr>
            <p:cNvPr id="30" name="Freeform: Shape 29">
              <a:extLst>
                <a:ext uri="{FF2B5EF4-FFF2-40B4-BE49-F238E27FC236}">
                  <a16:creationId xmlns:a16="http://schemas.microsoft.com/office/drawing/2014/main" id="{6689CDEB-97D9-4D7A-AF85-944E1CDF2C77}"/>
                </a:ext>
              </a:extLst>
            </p:cNvPr>
            <p:cNvSpPr/>
            <p:nvPr/>
          </p:nvSpPr>
          <p:spPr>
            <a:xfrm>
              <a:off x="6465440" y="5494741"/>
              <a:ext cx="39318" cy="95837"/>
            </a:xfrm>
            <a:custGeom>
              <a:avLst/>
              <a:gdLst>
                <a:gd name="connsiteX0" fmla="*/ 39686 w 39317"/>
                <a:gd name="connsiteY0" fmla="*/ 94977 h 95837"/>
                <a:gd name="connsiteX1" fmla="*/ 39686 w 39317"/>
                <a:gd name="connsiteY1" fmla="*/ 20765 h 95837"/>
                <a:gd name="connsiteX2" fmla="*/ 20765 w 39317"/>
                <a:gd name="connsiteY2" fmla="*/ 1843 h 95837"/>
                <a:gd name="connsiteX3" fmla="*/ 1843 w 39317"/>
                <a:gd name="connsiteY3" fmla="*/ 20765 h 95837"/>
                <a:gd name="connsiteX4" fmla="*/ 1843 w 39317"/>
                <a:gd name="connsiteY4" fmla="*/ 94977 h 95837"/>
                <a:gd name="connsiteX5" fmla="*/ 39686 w 39317"/>
                <a:gd name="connsiteY5" fmla="*/ 94977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17" h="95837">
                  <a:moveTo>
                    <a:pt x="39686" y="94977"/>
                  </a:moveTo>
                  <a:lnTo>
                    <a:pt x="39686" y="20765"/>
                  </a:lnTo>
                  <a:cubicBezTo>
                    <a:pt x="39686" y="10198"/>
                    <a:pt x="31086" y="1843"/>
                    <a:pt x="20765" y="1843"/>
                  </a:cubicBezTo>
                  <a:cubicBezTo>
                    <a:pt x="10198" y="1843"/>
                    <a:pt x="1843" y="10444"/>
                    <a:pt x="1843" y="20765"/>
                  </a:cubicBezTo>
                  <a:lnTo>
                    <a:pt x="1843" y="94977"/>
                  </a:lnTo>
                  <a:lnTo>
                    <a:pt x="39686" y="94977"/>
                  </a:lnTo>
                  <a:close/>
                </a:path>
              </a:pathLst>
            </a:custGeom>
            <a:solidFill>
              <a:srgbClr val="EE5253"/>
            </a:solidFill>
            <a:ln w="9525" cap="flat">
              <a:noFill/>
              <a:prstDash val="solid"/>
              <a:miter/>
            </a:ln>
          </p:spPr>
          <p:txBody>
            <a:bodyPr rtlCol="0" anchor="ctr"/>
            <a:lstStyle/>
            <a:p>
              <a:endParaRPr lang="en-US" sz="1568"/>
            </a:p>
          </p:txBody>
        </p:sp>
        <p:sp>
          <p:nvSpPr>
            <p:cNvPr id="31" name="Freeform: Shape 30">
              <a:extLst>
                <a:ext uri="{FF2B5EF4-FFF2-40B4-BE49-F238E27FC236}">
                  <a16:creationId xmlns:a16="http://schemas.microsoft.com/office/drawing/2014/main" id="{ECFCE4D4-C0D5-4FEE-A833-E51D85C3EDBE}"/>
                </a:ext>
              </a:extLst>
            </p:cNvPr>
            <p:cNvSpPr/>
            <p:nvPr/>
          </p:nvSpPr>
          <p:spPr>
            <a:xfrm>
              <a:off x="5624284" y="5300609"/>
              <a:ext cx="142527" cy="142527"/>
            </a:xfrm>
            <a:custGeom>
              <a:avLst/>
              <a:gdLst>
                <a:gd name="connsiteX0" fmla="*/ 142404 w 142527"/>
                <a:gd name="connsiteY0" fmla="*/ 72124 h 142527"/>
                <a:gd name="connsiteX1" fmla="*/ 72124 w 142527"/>
                <a:gd name="connsiteY1" fmla="*/ 142158 h 142527"/>
                <a:gd name="connsiteX2" fmla="*/ 1843 w 142527"/>
                <a:gd name="connsiteY2" fmla="*/ 72124 h 142527"/>
                <a:gd name="connsiteX3" fmla="*/ 72124 w 142527"/>
                <a:gd name="connsiteY3" fmla="*/ 1843 h 142527"/>
                <a:gd name="connsiteX4" fmla="*/ 142404 w 142527"/>
                <a:gd name="connsiteY4" fmla="*/ 72124 h 142527"/>
                <a:gd name="connsiteX5" fmla="*/ 142404 w 142527"/>
                <a:gd name="connsiteY5"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527" h="142527">
                  <a:moveTo>
                    <a:pt x="142404" y="72124"/>
                  </a:moveTo>
                  <a:cubicBezTo>
                    <a:pt x="142404" y="110950"/>
                    <a:pt x="110950" y="142158"/>
                    <a:pt x="72124" y="142158"/>
                  </a:cubicBezTo>
                  <a:cubicBezTo>
                    <a:pt x="33297" y="142158"/>
                    <a:pt x="1843" y="110704"/>
                    <a:pt x="1843" y="72124"/>
                  </a:cubicBezTo>
                  <a:cubicBezTo>
                    <a:pt x="1843" y="33297"/>
                    <a:pt x="33297" y="1843"/>
                    <a:pt x="72124" y="1843"/>
                  </a:cubicBezTo>
                  <a:cubicBezTo>
                    <a:pt x="110950" y="1843"/>
                    <a:pt x="142404" y="33543"/>
                    <a:pt x="142404" y="72124"/>
                  </a:cubicBezTo>
                  <a:lnTo>
                    <a:pt x="142404" y="72124"/>
                  </a:lnTo>
                  <a:close/>
                </a:path>
              </a:pathLst>
            </a:custGeom>
            <a:solidFill>
              <a:srgbClr val="FFCDBF"/>
            </a:solidFill>
            <a:ln w="9525" cap="flat">
              <a:noFill/>
              <a:prstDash val="solid"/>
              <a:miter/>
            </a:ln>
          </p:spPr>
          <p:txBody>
            <a:bodyPr rtlCol="0" anchor="ctr"/>
            <a:lstStyle/>
            <a:p>
              <a:endParaRPr lang="en-US" sz="1568"/>
            </a:p>
          </p:txBody>
        </p:sp>
        <p:sp>
          <p:nvSpPr>
            <p:cNvPr id="32" name="Freeform: Shape 31">
              <a:extLst>
                <a:ext uri="{FF2B5EF4-FFF2-40B4-BE49-F238E27FC236}">
                  <a16:creationId xmlns:a16="http://schemas.microsoft.com/office/drawing/2014/main" id="{30610F77-AF6B-4825-BD42-C99E1E4F4D88}"/>
                </a:ext>
              </a:extLst>
            </p:cNvPr>
            <p:cNvSpPr/>
            <p:nvPr/>
          </p:nvSpPr>
          <p:spPr>
            <a:xfrm>
              <a:off x="5579806" y="5441170"/>
              <a:ext cx="233449" cy="149899"/>
            </a:xfrm>
            <a:custGeom>
              <a:avLst/>
              <a:gdLst>
                <a:gd name="connsiteX0" fmla="*/ 156411 w 233449"/>
                <a:gd name="connsiteY0" fmla="*/ 1843 h 149899"/>
                <a:gd name="connsiteX1" fmla="*/ 77038 w 233449"/>
                <a:gd name="connsiteY1" fmla="*/ 1843 h 149899"/>
                <a:gd name="connsiteX2" fmla="*/ 1843 w 233449"/>
                <a:gd name="connsiteY2" fmla="*/ 77038 h 149899"/>
                <a:gd name="connsiteX3" fmla="*/ 1843 w 233449"/>
                <a:gd name="connsiteY3" fmla="*/ 135769 h 149899"/>
                <a:gd name="connsiteX4" fmla="*/ 14621 w 233449"/>
                <a:gd name="connsiteY4" fmla="*/ 148548 h 149899"/>
                <a:gd name="connsiteX5" fmla="*/ 218828 w 233449"/>
                <a:gd name="connsiteY5" fmla="*/ 148548 h 149899"/>
                <a:gd name="connsiteX6" fmla="*/ 231606 w 233449"/>
                <a:gd name="connsiteY6" fmla="*/ 135769 h 149899"/>
                <a:gd name="connsiteX7" fmla="*/ 231606 w 233449"/>
                <a:gd name="connsiteY7" fmla="*/ 77038 h 149899"/>
                <a:gd name="connsiteX8" fmla="*/ 156411 w 233449"/>
                <a:gd name="connsiteY8" fmla="*/ 1843 h 149899"/>
                <a:gd name="connsiteX9" fmla="*/ 156411 w 233449"/>
                <a:gd name="connsiteY9" fmla="*/ 1843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3449" h="149899">
                  <a:moveTo>
                    <a:pt x="156411" y="1843"/>
                  </a:moveTo>
                  <a:lnTo>
                    <a:pt x="77038" y="1843"/>
                  </a:lnTo>
                  <a:cubicBezTo>
                    <a:pt x="35755" y="1843"/>
                    <a:pt x="1843" y="35509"/>
                    <a:pt x="1843" y="77038"/>
                  </a:cubicBezTo>
                  <a:lnTo>
                    <a:pt x="1843" y="135769"/>
                  </a:lnTo>
                  <a:cubicBezTo>
                    <a:pt x="1843" y="142896"/>
                    <a:pt x="7495" y="148548"/>
                    <a:pt x="14621" y="148548"/>
                  </a:cubicBezTo>
                  <a:lnTo>
                    <a:pt x="218828" y="148548"/>
                  </a:lnTo>
                  <a:cubicBezTo>
                    <a:pt x="225955" y="148548"/>
                    <a:pt x="231606" y="142896"/>
                    <a:pt x="231606" y="135769"/>
                  </a:cubicBezTo>
                  <a:lnTo>
                    <a:pt x="231606" y="77038"/>
                  </a:lnTo>
                  <a:cubicBezTo>
                    <a:pt x="231606" y="35509"/>
                    <a:pt x="197695" y="1843"/>
                    <a:pt x="156411" y="1843"/>
                  </a:cubicBezTo>
                  <a:lnTo>
                    <a:pt x="156411" y="1843"/>
                  </a:lnTo>
                  <a:close/>
                </a:path>
              </a:pathLst>
            </a:custGeom>
            <a:solidFill>
              <a:srgbClr val="FF6B6B"/>
            </a:solidFill>
            <a:ln w="9525" cap="flat">
              <a:noFill/>
              <a:prstDash val="solid"/>
              <a:miter/>
            </a:ln>
          </p:spPr>
          <p:txBody>
            <a:bodyPr rtlCol="0" anchor="ctr"/>
            <a:lstStyle/>
            <a:p>
              <a:endParaRPr lang="en-US" sz="1568"/>
            </a:p>
          </p:txBody>
        </p:sp>
        <p:sp>
          <p:nvSpPr>
            <p:cNvPr id="33" name="Freeform: Shape 32">
              <a:extLst>
                <a:ext uri="{FF2B5EF4-FFF2-40B4-BE49-F238E27FC236}">
                  <a16:creationId xmlns:a16="http://schemas.microsoft.com/office/drawing/2014/main" id="{3D8E315D-838A-487B-A907-18508D1CCB33}"/>
                </a:ext>
              </a:extLst>
            </p:cNvPr>
            <p:cNvSpPr/>
            <p:nvPr/>
          </p:nvSpPr>
          <p:spPr>
            <a:xfrm>
              <a:off x="5579806" y="5441170"/>
              <a:ext cx="127783" cy="149899"/>
            </a:xfrm>
            <a:custGeom>
              <a:avLst/>
              <a:gdLst>
                <a:gd name="connsiteX0" fmla="*/ 52465 w 127782"/>
                <a:gd name="connsiteY0" fmla="*/ 135769 h 149899"/>
                <a:gd name="connsiteX1" fmla="*/ 52465 w 127782"/>
                <a:gd name="connsiteY1" fmla="*/ 77038 h 149899"/>
                <a:gd name="connsiteX2" fmla="*/ 127660 w 127782"/>
                <a:gd name="connsiteY2" fmla="*/ 1843 h 149899"/>
                <a:gd name="connsiteX3" fmla="*/ 77038 w 127782"/>
                <a:gd name="connsiteY3" fmla="*/ 1843 h 149899"/>
                <a:gd name="connsiteX4" fmla="*/ 1843 w 127782"/>
                <a:gd name="connsiteY4" fmla="*/ 77038 h 149899"/>
                <a:gd name="connsiteX5" fmla="*/ 1843 w 127782"/>
                <a:gd name="connsiteY5" fmla="*/ 135769 h 149899"/>
                <a:gd name="connsiteX6" fmla="*/ 14621 w 127782"/>
                <a:gd name="connsiteY6" fmla="*/ 148548 h 149899"/>
                <a:gd name="connsiteX7" fmla="*/ 65243 w 127782"/>
                <a:gd name="connsiteY7" fmla="*/ 148548 h 149899"/>
                <a:gd name="connsiteX8" fmla="*/ 52465 w 127782"/>
                <a:gd name="connsiteY8" fmla="*/ 135769 h 149899"/>
                <a:gd name="connsiteX9" fmla="*/ 52465 w 127782"/>
                <a:gd name="connsiteY9" fmla="*/ 135769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82" h="149899">
                  <a:moveTo>
                    <a:pt x="52465" y="135769"/>
                  </a:moveTo>
                  <a:lnTo>
                    <a:pt x="52465" y="77038"/>
                  </a:lnTo>
                  <a:cubicBezTo>
                    <a:pt x="52465" y="35755"/>
                    <a:pt x="86376" y="1843"/>
                    <a:pt x="127660" y="1843"/>
                  </a:cubicBezTo>
                  <a:lnTo>
                    <a:pt x="77038" y="1843"/>
                  </a:lnTo>
                  <a:cubicBezTo>
                    <a:pt x="35755" y="1843"/>
                    <a:pt x="1843" y="35509"/>
                    <a:pt x="1843" y="77038"/>
                  </a:cubicBezTo>
                  <a:lnTo>
                    <a:pt x="1843" y="135769"/>
                  </a:lnTo>
                  <a:cubicBezTo>
                    <a:pt x="1843" y="142896"/>
                    <a:pt x="7495" y="148548"/>
                    <a:pt x="14621" y="148548"/>
                  </a:cubicBezTo>
                  <a:lnTo>
                    <a:pt x="65243" y="148548"/>
                  </a:lnTo>
                  <a:cubicBezTo>
                    <a:pt x="58117" y="148548"/>
                    <a:pt x="52465" y="142896"/>
                    <a:pt x="52465" y="135769"/>
                  </a:cubicBezTo>
                  <a:lnTo>
                    <a:pt x="52465" y="135769"/>
                  </a:lnTo>
                  <a:close/>
                </a:path>
              </a:pathLst>
            </a:custGeom>
            <a:solidFill>
              <a:srgbClr val="EE5253"/>
            </a:solidFill>
            <a:ln w="9525" cap="flat">
              <a:noFill/>
              <a:prstDash val="solid"/>
              <a:miter/>
            </a:ln>
          </p:spPr>
          <p:txBody>
            <a:bodyPr rtlCol="0" anchor="ctr"/>
            <a:lstStyle/>
            <a:p>
              <a:endParaRPr lang="en-US" sz="1568"/>
            </a:p>
          </p:txBody>
        </p:sp>
        <p:sp>
          <p:nvSpPr>
            <p:cNvPr id="34" name="Freeform: Shape 33">
              <a:extLst>
                <a:ext uri="{FF2B5EF4-FFF2-40B4-BE49-F238E27FC236}">
                  <a16:creationId xmlns:a16="http://schemas.microsoft.com/office/drawing/2014/main" id="{4826BCCE-9696-4DED-BAC0-38DD48764409}"/>
                </a:ext>
              </a:extLst>
            </p:cNvPr>
            <p:cNvSpPr/>
            <p:nvPr/>
          </p:nvSpPr>
          <p:spPr>
            <a:xfrm>
              <a:off x="5732900" y="5494741"/>
              <a:ext cx="41775" cy="95837"/>
            </a:xfrm>
            <a:custGeom>
              <a:avLst/>
              <a:gdLst>
                <a:gd name="connsiteX0" fmla="*/ 39686 w 41775"/>
                <a:gd name="connsiteY0" fmla="*/ 20765 h 95837"/>
                <a:gd name="connsiteX1" fmla="*/ 20765 w 41775"/>
                <a:gd name="connsiteY1" fmla="*/ 1843 h 95837"/>
                <a:gd name="connsiteX2" fmla="*/ 1843 w 41775"/>
                <a:gd name="connsiteY2" fmla="*/ 20765 h 95837"/>
                <a:gd name="connsiteX3" fmla="*/ 1843 w 41775"/>
                <a:gd name="connsiteY3" fmla="*/ 94977 h 95837"/>
                <a:gd name="connsiteX4" fmla="*/ 39932 w 41775"/>
                <a:gd name="connsiteY4" fmla="*/ 94977 h 95837"/>
                <a:gd name="connsiteX5" fmla="*/ 39932 w 41775"/>
                <a:gd name="connsiteY5" fmla="*/ 20765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775" h="95837">
                  <a:moveTo>
                    <a:pt x="39686" y="20765"/>
                  </a:moveTo>
                  <a:cubicBezTo>
                    <a:pt x="39686" y="10198"/>
                    <a:pt x="31086" y="1843"/>
                    <a:pt x="20765" y="1843"/>
                  </a:cubicBezTo>
                  <a:cubicBezTo>
                    <a:pt x="10198" y="1843"/>
                    <a:pt x="1843" y="10444"/>
                    <a:pt x="1843" y="20765"/>
                  </a:cubicBezTo>
                  <a:lnTo>
                    <a:pt x="1843" y="94977"/>
                  </a:lnTo>
                  <a:lnTo>
                    <a:pt x="39932" y="94977"/>
                  </a:lnTo>
                  <a:lnTo>
                    <a:pt x="39932" y="20765"/>
                  </a:lnTo>
                  <a:close/>
                </a:path>
              </a:pathLst>
            </a:custGeom>
            <a:solidFill>
              <a:srgbClr val="EE5253"/>
            </a:solidFill>
            <a:ln w="9525" cap="flat">
              <a:noFill/>
              <a:prstDash val="solid"/>
              <a:miter/>
            </a:ln>
          </p:spPr>
          <p:txBody>
            <a:bodyPr rtlCol="0" anchor="ctr"/>
            <a:lstStyle/>
            <a:p>
              <a:endParaRPr lang="en-US" sz="1568"/>
            </a:p>
          </p:txBody>
        </p:sp>
        <p:sp>
          <p:nvSpPr>
            <p:cNvPr id="35" name="Freeform: Shape 34">
              <a:extLst>
                <a:ext uri="{FF2B5EF4-FFF2-40B4-BE49-F238E27FC236}">
                  <a16:creationId xmlns:a16="http://schemas.microsoft.com/office/drawing/2014/main" id="{59175700-9114-4BA5-96A1-9929CA5AD050}"/>
                </a:ext>
              </a:extLst>
            </p:cNvPr>
            <p:cNvSpPr/>
            <p:nvPr/>
          </p:nvSpPr>
          <p:spPr>
            <a:xfrm>
              <a:off x="5618632" y="5494741"/>
              <a:ext cx="39318" cy="95837"/>
            </a:xfrm>
            <a:custGeom>
              <a:avLst/>
              <a:gdLst>
                <a:gd name="connsiteX0" fmla="*/ 39686 w 39317"/>
                <a:gd name="connsiteY0" fmla="*/ 94977 h 95837"/>
                <a:gd name="connsiteX1" fmla="*/ 39686 w 39317"/>
                <a:gd name="connsiteY1" fmla="*/ 20765 h 95837"/>
                <a:gd name="connsiteX2" fmla="*/ 20765 w 39317"/>
                <a:gd name="connsiteY2" fmla="*/ 1843 h 95837"/>
                <a:gd name="connsiteX3" fmla="*/ 1843 w 39317"/>
                <a:gd name="connsiteY3" fmla="*/ 20765 h 95837"/>
                <a:gd name="connsiteX4" fmla="*/ 1843 w 39317"/>
                <a:gd name="connsiteY4" fmla="*/ 94977 h 95837"/>
                <a:gd name="connsiteX5" fmla="*/ 39686 w 39317"/>
                <a:gd name="connsiteY5" fmla="*/ 94977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17" h="95837">
                  <a:moveTo>
                    <a:pt x="39686" y="94977"/>
                  </a:moveTo>
                  <a:lnTo>
                    <a:pt x="39686" y="20765"/>
                  </a:lnTo>
                  <a:cubicBezTo>
                    <a:pt x="39686" y="10198"/>
                    <a:pt x="31086" y="1843"/>
                    <a:pt x="20765" y="1843"/>
                  </a:cubicBezTo>
                  <a:cubicBezTo>
                    <a:pt x="10198" y="1843"/>
                    <a:pt x="1843" y="10444"/>
                    <a:pt x="1843" y="20765"/>
                  </a:cubicBezTo>
                  <a:lnTo>
                    <a:pt x="1843" y="94977"/>
                  </a:lnTo>
                  <a:lnTo>
                    <a:pt x="39686" y="94977"/>
                  </a:lnTo>
                  <a:close/>
                </a:path>
              </a:pathLst>
            </a:custGeom>
            <a:solidFill>
              <a:srgbClr val="EE5253"/>
            </a:solidFill>
            <a:ln w="9525" cap="flat">
              <a:noFill/>
              <a:prstDash val="solid"/>
              <a:miter/>
            </a:ln>
          </p:spPr>
          <p:txBody>
            <a:bodyPr rtlCol="0" anchor="ctr"/>
            <a:lstStyle/>
            <a:p>
              <a:endParaRPr lang="en-US" sz="1568"/>
            </a:p>
          </p:txBody>
        </p:sp>
        <p:sp>
          <p:nvSpPr>
            <p:cNvPr id="36" name="Freeform: Shape 35">
              <a:extLst>
                <a:ext uri="{FF2B5EF4-FFF2-40B4-BE49-F238E27FC236}">
                  <a16:creationId xmlns:a16="http://schemas.microsoft.com/office/drawing/2014/main" id="{C466A2B1-C231-41D8-B550-49E438BAFDC9}"/>
                </a:ext>
              </a:extLst>
            </p:cNvPr>
            <p:cNvSpPr/>
            <p:nvPr/>
          </p:nvSpPr>
          <p:spPr>
            <a:xfrm>
              <a:off x="6471092" y="4858775"/>
              <a:ext cx="142527" cy="142527"/>
            </a:xfrm>
            <a:custGeom>
              <a:avLst/>
              <a:gdLst>
                <a:gd name="connsiteX0" fmla="*/ 142404 w 142527"/>
                <a:gd name="connsiteY0" fmla="*/ 72124 h 142527"/>
                <a:gd name="connsiteX1" fmla="*/ 72124 w 142527"/>
                <a:gd name="connsiteY1" fmla="*/ 142404 h 142527"/>
                <a:gd name="connsiteX2" fmla="*/ 1843 w 142527"/>
                <a:gd name="connsiteY2" fmla="*/ 72124 h 142527"/>
                <a:gd name="connsiteX3" fmla="*/ 72124 w 142527"/>
                <a:gd name="connsiteY3" fmla="*/ 1843 h 142527"/>
                <a:gd name="connsiteX4" fmla="*/ 142404 w 142527"/>
                <a:gd name="connsiteY4" fmla="*/ 72124 h 142527"/>
                <a:gd name="connsiteX5" fmla="*/ 142404 w 142527"/>
                <a:gd name="connsiteY5"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527" h="142527">
                  <a:moveTo>
                    <a:pt x="142404" y="72124"/>
                  </a:moveTo>
                  <a:cubicBezTo>
                    <a:pt x="142404" y="110950"/>
                    <a:pt x="110950" y="142404"/>
                    <a:pt x="72124" y="142404"/>
                  </a:cubicBezTo>
                  <a:cubicBezTo>
                    <a:pt x="33297" y="142404"/>
                    <a:pt x="1843" y="110950"/>
                    <a:pt x="1843" y="72124"/>
                  </a:cubicBezTo>
                  <a:cubicBezTo>
                    <a:pt x="1843" y="33297"/>
                    <a:pt x="33297" y="1843"/>
                    <a:pt x="72124" y="1843"/>
                  </a:cubicBezTo>
                  <a:cubicBezTo>
                    <a:pt x="110950" y="2089"/>
                    <a:pt x="142404" y="33543"/>
                    <a:pt x="142404" y="72124"/>
                  </a:cubicBezTo>
                  <a:lnTo>
                    <a:pt x="142404" y="72124"/>
                  </a:lnTo>
                  <a:close/>
                </a:path>
              </a:pathLst>
            </a:custGeom>
            <a:solidFill>
              <a:srgbClr val="FFCDBF"/>
            </a:solidFill>
            <a:ln w="9525" cap="flat">
              <a:noFill/>
              <a:prstDash val="solid"/>
              <a:miter/>
            </a:ln>
          </p:spPr>
          <p:txBody>
            <a:bodyPr rtlCol="0" anchor="ctr"/>
            <a:lstStyle/>
            <a:p>
              <a:endParaRPr lang="en-US" sz="1568"/>
            </a:p>
          </p:txBody>
        </p:sp>
        <p:sp>
          <p:nvSpPr>
            <p:cNvPr id="37" name="Freeform: Shape 36">
              <a:extLst>
                <a:ext uri="{FF2B5EF4-FFF2-40B4-BE49-F238E27FC236}">
                  <a16:creationId xmlns:a16="http://schemas.microsoft.com/office/drawing/2014/main" id="{2133B0C1-ABDF-4C92-AE88-6DE03CC83845}"/>
                </a:ext>
              </a:extLst>
            </p:cNvPr>
            <p:cNvSpPr/>
            <p:nvPr/>
          </p:nvSpPr>
          <p:spPr>
            <a:xfrm>
              <a:off x="6426613" y="4999336"/>
              <a:ext cx="233449" cy="149899"/>
            </a:xfrm>
            <a:custGeom>
              <a:avLst/>
              <a:gdLst>
                <a:gd name="connsiteX0" fmla="*/ 156411 w 233449"/>
                <a:gd name="connsiteY0" fmla="*/ 1843 h 149899"/>
                <a:gd name="connsiteX1" fmla="*/ 77038 w 233449"/>
                <a:gd name="connsiteY1" fmla="*/ 1843 h 149899"/>
                <a:gd name="connsiteX2" fmla="*/ 1843 w 233449"/>
                <a:gd name="connsiteY2" fmla="*/ 77038 h 149899"/>
                <a:gd name="connsiteX3" fmla="*/ 1843 w 233449"/>
                <a:gd name="connsiteY3" fmla="*/ 135769 h 149899"/>
                <a:gd name="connsiteX4" fmla="*/ 14621 w 233449"/>
                <a:gd name="connsiteY4" fmla="*/ 148548 h 149899"/>
                <a:gd name="connsiteX5" fmla="*/ 218828 w 233449"/>
                <a:gd name="connsiteY5" fmla="*/ 148548 h 149899"/>
                <a:gd name="connsiteX6" fmla="*/ 231606 w 233449"/>
                <a:gd name="connsiteY6" fmla="*/ 135769 h 149899"/>
                <a:gd name="connsiteX7" fmla="*/ 231606 w 233449"/>
                <a:gd name="connsiteY7" fmla="*/ 77038 h 149899"/>
                <a:gd name="connsiteX8" fmla="*/ 156411 w 233449"/>
                <a:gd name="connsiteY8" fmla="*/ 1843 h 149899"/>
                <a:gd name="connsiteX9" fmla="*/ 156411 w 233449"/>
                <a:gd name="connsiteY9" fmla="*/ 1843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3449" h="149899">
                  <a:moveTo>
                    <a:pt x="156411" y="1843"/>
                  </a:moveTo>
                  <a:lnTo>
                    <a:pt x="77038" y="1843"/>
                  </a:lnTo>
                  <a:cubicBezTo>
                    <a:pt x="35755" y="1843"/>
                    <a:pt x="1843" y="35755"/>
                    <a:pt x="1843" y="77038"/>
                  </a:cubicBezTo>
                  <a:lnTo>
                    <a:pt x="1843" y="135769"/>
                  </a:lnTo>
                  <a:cubicBezTo>
                    <a:pt x="1843" y="142896"/>
                    <a:pt x="7495" y="148548"/>
                    <a:pt x="14621" y="148548"/>
                  </a:cubicBezTo>
                  <a:lnTo>
                    <a:pt x="218828" y="148548"/>
                  </a:lnTo>
                  <a:cubicBezTo>
                    <a:pt x="225954" y="148548"/>
                    <a:pt x="231606" y="142896"/>
                    <a:pt x="231606" y="135769"/>
                  </a:cubicBezTo>
                  <a:lnTo>
                    <a:pt x="231606" y="77038"/>
                  </a:lnTo>
                  <a:cubicBezTo>
                    <a:pt x="231606" y="35755"/>
                    <a:pt x="197695" y="1843"/>
                    <a:pt x="156411" y="1843"/>
                  </a:cubicBezTo>
                  <a:lnTo>
                    <a:pt x="156411" y="1843"/>
                  </a:lnTo>
                  <a:close/>
                </a:path>
              </a:pathLst>
            </a:custGeom>
            <a:solidFill>
              <a:srgbClr val="FF6B6B"/>
            </a:solidFill>
            <a:ln w="9525" cap="flat">
              <a:noFill/>
              <a:prstDash val="solid"/>
              <a:miter/>
            </a:ln>
          </p:spPr>
          <p:txBody>
            <a:bodyPr rtlCol="0" anchor="ctr"/>
            <a:lstStyle/>
            <a:p>
              <a:endParaRPr lang="en-US" sz="1568"/>
            </a:p>
          </p:txBody>
        </p:sp>
        <p:sp>
          <p:nvSpPr>
            <p:cNvPr id="38" name="Freeform: Shape 37">
              <a:extLst>
                <a:ext uri="{FF2B5EF4-FFF2-40B4-BE49-F238E27FC236}">
                  <a16:creationId xmlns:a16="http://schemas.microsoft.com/office/drawing/2014/main" id="{5E57530D-FC70-441D-9216-579CD93FDAA9}"/>
                </a:ext>
              </a:extLst>
            </p:cNvPr>
            <p:cNvSpPr/>
            <p:nvPr/>
          </p:nvSpPr>
          <p:spPr>
            <a:xfrm>
              <a:off x="6426613" y="4999336"/>
              <a:ext cx="127783" cy="149899"/>
            </a:xfrm>
            <a:custGeom>
              <a:avLst/>
              <a:gdLst>
                <a:gd name="connsiteX0" fmla="*/ 52465 w 127782"/>
                <a:gd name="connsiteY0" fmla="*/ 135769 h 149899"/>
                <a:gd name="connsiteX1" fmla="*/ 52465 w 127782"/>
                <a:gd name="connsiteY1" fmla="*/ 77038 h 149899"/>
                <a:gd name="connsiteX2" fmla="*/ 127660 w 127782"/>
                <a:gd name="connsiteY2" fmla="*/ 1843 h 149899"/>
                <a:gd name="connsiteX3" fmla="*/ 77038 w 127782"/>
                <a:gd name="connsiteY3" fmla="*/ 1843 h 149899"/>
                <a:gd name="connsiteX4" fmla="*/ 1843 w 127782"/>
                <a:gd name="connsiteY4" fmla="*/ 77038 h 149899"/>
                <a:gd name="connsiteX5" fmla="*/ 1843 w 127782"/>
                <a:gd name="connsiteY5" fmla="*/ 135769 h 149899"/>
                <a:gd name="connsiteX6" fmla="*/ 14621 w 127782"/>
                <a:gd name="connsiteY6" fmla="*/ 148548 h 149899"/>
                <a:gd name="connsiteX7" fmla="*/ 65243 w 127782"/>
                <a:gd name="connsiteY7" fmla="*/ 148548 h 149899"/>
                <a:gd name="connsiteX8" fmla="*/ 52465 w 127782"/>
                <a:gd name="connsiteY8" fmla="*/ 135769 h 149899"/>
                <a:gd name="connsiteX9" fmla="*/ 52465 w 127782"/>
                <a:gd name="connsiteY9" fmla="*/ 135769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82" h="149899">
                  <a:moveTo>
                    <a:pt x="52465" y="135769"/>
                  </a:moveTo>
                  <a:lnTo>
                    <a:pt x="52465" y="77038"/>
                  </a:lnTo>
                  <a:cubicBezTo>
                    <a:pt x="52465" y="35755"/>
                    <a:pt x="86376" y="1843"/>
                    <a:pt x="127660" y="1843"/>
                  </a:cubicBezTo>
                  <a:lnTo>
                    <a:pt x="77038" y="1843"/>
                  </a:lnTo>
                  <a:cubicBezTo>
                    <a:pt x="35755" y="1843"/>
                    <a:pt x="1843" y="35755"/>
                    <a:pt x="1843" y="77038"/>
                  </a:cubicBezTo>
                  <a:lnTo>
                    <a:pt x="1843" y="135769"/>
                  </a:lnTo>
                  <a:cubicBezTo>
                    <a:pt x="1843" y="142896"/>
                    <a:pt x="7495" y="148548"/>
                    <a:pt x="14621" y="148548"/>
                  </a:cubicBezTo>
                  <a:lnTo>
                    <a:pt x="65243" y="148548"/>
                  </a:lnTo>
                  <a:cubicBezTo>
                    <a:pt x="58117" y="148548"/>
                    <a:pt x="52465" y="142896"/>
                    <a:pt x="52465" y="135769"/>
                  </a:cubicBezTo>
                  <a:lnTo>
                    <a:pt x="52465" y="135769"/>
                  </a:lnTo>
                  <a:close/>
                </a:path>
              </a:pathLst>
            </a:custGeom>
            <a:solidFill>
              <a:srgbClr val="EE5253"/>
            </a:solidFill>
            <a:ln w="9525" cap="flat">
              <a:noFill/>
              <a:prstDash val="solid"/>
              <a:miter/>
            </a:ln>
          </p:spPr>
          <p:txBody>
            <a:bodyPr rtlCol="0" anchor="ctr"/>
            <a:lstStyle/>
            <a:p>
              <a:endParaRPr lang="en-US" sz="1568"/>
            </a:p>
          </p:txBody>
        </p:sp>
        <p:sp>
          <p:nvSpPr>
            <p:cNvPr id="39" name="Freeform: Shape 38">
              <a:extLst>
                <a:ext uri="{FF2B5EF4-FFF2-40B4-BE49-F238E27FC236}">
                  <a16:creationId xmlns:a16="http://schemas.microsoft.com/office/drawing/2014/main" id="{31E3F487-1702-43A3-8D0F-6B404B0D2BAD}"/>
                </a:ext>
              </a:extLst>
            </p:cNvPr>
            <p:cNvSpPr/>
            <p:nvPr/>
          </p:nvSpPr>
          <p:spPr>
            <a:xfrm>
              <a:off x="6579707" y="5052907"/>
              <a:ext cx="41775" cy="95837"/>
            </a:xfrm>
            <a:custGeom>
              <a:avLst/>
              <a:gdLst>
                <a:gd name="connsiteX0" fmla="*/ 39686 w 41775"/>
                <a:gd name="connsiteY0" fmla="*/ 20765 h 95837"/>
                <a:gd name="connsiteX1" fmla="*/ 20765 w 41775"/>
                <a:gd name="connsiteY1" fmla="*/ 1843 h 95837"/>
                <a:gd name="connsiteX2" fmla="*/ 1843 w 41775"/>
                <a:gd name="connsiteY2" fmla="*/ 20765 h 95837"/>
                <a:gd name="connsiteX3" fmla="*/ 1843 w 41775"/>
                <a:gd name="connsiteY3" fmla="*/ 94977 h 95837"/>
                <a:gd name="connsiteX4" fmla="*/ 39932 w 41775"/>
                <a:gd name="connsiteY4" fmla="*/ 94977 h 95837"/>
                <a:gd name="connsiteX5" fmla="*/ 39932 w 41775"/>
                <a:gd name="connsiteY5" fmla="*/ 20765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775" h="95837">
                  <a:moveTo>
                    <a:pt x="39686" y="20765"/>
                  </a:moveTo>
                  <a:cubicBezTo>
                    <a:pt x="39686" y="10198"/>
                    <a:pt x="31086" y="1843"/>
                    <a:pt x="20765" y="1843"/>
                  </a:cubicBezTo>
                  <a:cubicBezTo>
                    <a:pt x="10198" y="1843"/>
                    <a:pt x="1843" y="10444"/>
                    <a:pt x="1843" y="20765"/>
                  </a:cubicBezTo>
                  <a:lnTo>
                    <a:pt x="1843" y="94977"/>
                  </a:lnTo>
                  <a:lnTo>
                    <a:pt x="39932" y="94977"/>
                  </a:lnTo>
                  <a:lnTo>
                    <a:pt x="39932" y="20765"/>
                  </a:lnTo>
                  <a:close/>
                </a:path>
              </a:pathLst>
            </a:custGeom>
            <a:solidFill>
              <a:srgbClr val="EE5253"/>
            </a:solidFill>
            <a:ln w="9525" cap="flat">
              <a:noFill/>
              <a:prstDash val="solid"/>
              <a:miter/>
            </a:ln>
          </p:spPr>
          <p:txBody>
            <a:bodyPr rtlCol="0" anchor="ctr"/>
            <a:lstStyle/>
            <a:p>
              <a:endParaRPr lang="en-US" sz="1568"/>
            </a:p>
          </p:txBody>
        </p:sp>
        <p:sp>
          <p:nvSpPr>
            <p:cNvPr id="40" name="Freeform: Shape 39">
              <a:extLst>
                <a:ext uri="{FF2B5EF4-FFF2-40B4-BE49-F238E27FC236}">
                  <a16:creationId xmlns:a16="http://schemas.microsoft.com/office/drawing/2014/main" id="{1080CB24-7E21-427B-93D2-CC37EA12B619}"/>
                </a:ext>
              </a:extLst>
            </p:cNvPr>
            <p:cNvSpPr/>
            <p:nvPr/>
          </p:nvSpPr>
          <p:spPr>
            <a:xfrm>
              <a:off x="6465440" y="5052907"/>
              <a:ext cx="39318" cy="95837"/>
            </a:xfrm>
            <a:custGeom>
              <a:avLst/>
              <a:gdLst>
                <a:gd name="connsiteX0" fmla="*/ 39686 w 39317"/>
                <a:gd name="connsiteY0" fmla="*/ 94977 h 95837"/>
                <a:gd name="connsiteX1" fmla="*/ 39686 w 39317"/>
                <a:gd name="connsiteY1" fmla="*/ 20765 h 95837"/>
                <a:gd name="connsiteX2" fmla="*/ 20765 w 39317"/>
                <a:gd name="connsiteY2" fmla="*/ 1843 h 95837"/>
                <a:gd name="connsiteX3" fmla="*/ 1843 w 39317"/>
                <a:gd name="connsiteY3" fmla="*/ 20765 h 95837"/>
                <a:gd name="connsiteX4" fmla="*/ 1843 w 39317"/>
                <a:gd name="connsiteY4" fmla="*/ 94977 h 95837"/>
                <a:gd name="connsiteX5" fmla="*/ 39686 w 39317"/>
                <a:gd name="connsiteY5" fmla="*/ 94977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17" h="95837">
                  <a:moveTo>
                    <a:pt x="39686" y="94977"/>
                  </a:moveTo>
                  <a:lnTo>
                    <a:pt x="39686" y="20765"/>
                  </a:lnTo>
                  <a:cubicBezTo>
                    <a:pt x="39686" y="10198"/>
                    <a:pt x="31086" y="1843"/>
                    <a:pt x="20765" y="1843"/>
                  </a:cubicBezTo>
                  <a:cubicBezTo>
                    <a:pt x="10198" y="1843"/>
                    <a:pt x="1843" y="10444"/>
                    <a:pt x="1843" y="20765"/>
                  </a:cubicBezTo>
                  <a:lnTo>
                    <a:pt x="1843" y="94977"/>
                  </a:lnTo>
                  <a:lnTo>
                    <a:pt x="39686" y="94977"/>
                  </a:lnTo>
                  <a:close/>
                </a:path>
              </a:pathLst>
            </a:custGeom>
            <a:solidFill>
              <a:srgbClr val="EE5253"/>
            </a:solidFill>
            <a:ln w="9525" cap="flat">
              <a:noFill/>
              <a:prstDash val="solid"/>
              <a:miter/>
            </a:ln>
          </p:spPr>
          <p:txBody>
            <a:bodyPr rtlCol="0" anchor="ctr"/>
            <a:lstStyle/>
            <a:p>
              <a:endParaRPr lang="en-US" sz="1568"/>
            </a:p>
          </p:txBody>
        </p:sp>
        <p:sp>
          <p:nvSpPr>
            <p:cNvPr id="41" name="Freeform: Shape 40">
              <a:extLst>
                <a:ext uri="{FF2B5EF4-FFF2-40B4-BE49-F238E27FC236}">
                  <a16:creationId xmlns:a16="http://schemas.microsoft.com/office/drawing/2014/main" id="{F913EC3B-4170-4401-8829-ABBB261A498B}"/>
                </a:ext>
              </a:extLst>
            </p:cNvPr>
            <p:cNvSpPr/>
            <p:nvPr/>
          </p:nvSpPr>
          <p:spPr>
            <a:xfrm>
              <a:off x="5624284" y="4858775"/>
              <a:ext cx="142527" cy="142527"/>
            </a:xfrm>
            <a:custGeom>
              <a:avLst/>
              <a:gdLst>
                <a:gd name="connsiteX0" fmla="*/ 142404 w 142527"/>
                <a:gd name="connsiteY0" fmla="*/ 72124 h 142527"/>
                <a:gd name="connsiteX1" fmla="*/ 72124 w 142527"/>
                <a:gd name="connsiteY1" fmla="*/ 142404 h 142527"/>
                <a:gd name="connsiteX2" fmla="*/ 1843 w 142527"/>
                <a:gd name="connsiteY2" fmla="*/ 72124 h 142527"/>
                <a:gd name="connsiteX3" fmla="*/ 72124 w 142527"/>
                <a:gd name="connsiteY3" fmla="*/ 1843 h 142527"/>
                <a:gd name="connsiteX4" fmla="*/ 142404 w 142527"/>
                <a:gd name="connsiteY4" fmla="*/ 72124 h 142527"/>
                <a:gd name="connsiteX5" fmla="*/ 142404 w 142527"/>
                <a:gd name="connsiteY5"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527" h="142527">
                  <a:moveTo>
                    <a:pt x="142404" y="72124"/>
                  </a:moveTo>
                  <a:cubicBezTo>
                    <a:pt x="142404" y="110950"/>
                    <a:pt x="110950" y="142404"/>
                    <a:pt x="72124" y="142404"/>
                  </a:cubicBezTo>
                  <a:cubicBezTo>
                    <a:pt x="33297" y="142404"/>
                    <a:pt x="1843" y="110950"/>
                    <a:pt x="1843" y="72124"/>
                  </a:cubicBezTo>
                  <a:cubicBezTo>
                    <a:pt x="1843" y="33297"/>
                    <a:pt x="33297" y="1843"/>
                    <a:pt x="72124" y="1843"/>
                  </a:cubicBezTo>
                  <a:cubicBezTo>
                    <a:pt x="110950" y="1843"/>
                    <a:pt x="142404" y="33543"/>
                    <a:pt x="142404" y="72124"/>
                  </a:cubicBezTo>
                  <a:lnTo>
                    <a:pt x="142404" y="72124"/>
                  </a:lnTo>
                  <a:close/>
                </a:path>
              </a:pathLst>
            </a:custGeom>
            <a:solidFill>
              <a:srgbClr val="FFCDBF"/>
            </a:solidFill>
            <a:ln w="9525" cap="flat">
              <a:noFill/>
              <a:prstDash val="solid"/>
              <a:miter/>
            </a:ln>
          </p:spPr>
          <p:txBody>
            <a:bodyPr rtlCol="0" anchor="ctr"/>
            <a:lstStyle/>
            <a:p>
              <a:endParaRPr lang="en-US" sz="1568"/>
            </a:p>
          </p:txBody>
        </p:sp>
        <p:sp>
          <p:nvSpPr>
            <p:cNvPr id="42" name="Freeform: Shape 41">
              <a:extLst>
                <a:ext uri="{FF2B5EF4-FFF2-40B4-BE49-F238E27FC236}">
                  <a16:creationId xmlns:a16="http://schemas.microsoft.com/office/drawing/2014/main" id="{DBD57991-9C55-4EB8-8961-DC991AC58E9B}"/>
                </a:ext>
              </a:extLst>
            </p:cNvPr>
            <p:cNvSpPr/>
            <p:nvPr/>
          </p:nvSpPr>
          <p:spPr>
            <a:xfrm>
              <a:off x="5579806" y="4999336"/>
              <a:ext cx="233449" cy="149899"/>
            </a:xfrm>
            <a:custGeom>
              <a:avLst/>
              <a:gdLst>
                <a:gd name="connsiteX0" fmla="*/ 156411 w 233449"/>
                <a:gd name="connsiteY0" fmla="*/ 1843 h 149899"/>
                <a:gd name="connsiteX1" fmla="*/ 77038 w 233449"/>
                <a:gd name="connsiteY1" fmla="*/ 1843 h 149899"/>
                <a:gd name="connsiteX2" fmla="*/ 1843 w 233449"/>
                <a:gd name="connsiteY2" fmla="*/ 77038 h 149899"/>
                <a:gd name="connsiteX3" fmla="*/ 1843 w 233449"/>
                <a:gd name="connsiteY3" fmla="*/ 135769 h 149899"/>
                <a:gd name="connsiteX4" fmla="*/ 14621 w 233449"/>
                <a:gd name="connsiteY4" fmla="*/ 148548 h 149899"/>
                <a:gd name="connsiteX5" fmla="*/ 218828 w 233449"/>
                <a:gd name="connsiteY5" fmla="*/ 148548 h 149899"/>
                <a:gd name="connsiteX6" fmla="*/ 231606 w 233449"/>
                <a:gd name="connsiteY6" fmla="*/ 135769 h 149899"/>
                <a:gd name="connsiteX7" fmla="*/ 231606 w 233449"/>
                <a:gd name="connsiteY7" fmla="*/ 77038 h 149899"/>
                <a:gd name="connsiteX8" fmla="*/ 156411 w 233449"/>
                <a:gd name="connsiteY8" fmla="*/ 1843 h 149899"/>
                <a:gd name="connsiteX9" fmla="*/ 156411 w 233449"/>
                <a:gd name="connsiteY9" fmla="*/ 1843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3449" h="149899">
                  <a:moveTo>
                    <a:pt x="156411" y="1843"/>
                  </a:moveTo>
                  <a:lnTo>
                    <a:pt x="77038" y="1843"/>
                  </a:lnTo>
                  <a:cubicBezTo>
                    <a:pt x="35755" y="1843"/>
                    <a:pt x="1843" y="35755"/>
                    <a:pt x="1843" y="77038"/>
                  </a:cubicBezTo>
                  <a:lnTo>
                    <a:pt x="1843" y="135769"/>
                  </a:lnTo>
                  <a:cubicBezTo>
                    <a:pt x="1843" y="142896"/>
                    <a:pt x="7495" y="148548"/>
                    <a:pt x="14621" y="148548"/>
                  </a:cubicBezTo>
                  <a:lnTo>
                    <a:pt x="218828" y="148548"/>
                  </a:lnTo>
                  <a:cubicBezTo>
                    <a:pt x="225955" y="148548"/>
                    <a:pt x="231606" y="142896"/>
                    <a:pt x="231606" y="135769"/>
                  </a:cubicBezTo>
                  <a:lnTo>
                    <a:pt x="231606" y="77038"/>
                  </a:lnTo>
                  <a:cubicBezTo>
                    <a:pt x="231606" y="35755"/>
                    <a:pt x="197695" y="1843"/>
                    <a:pt x="156411" y="1843"/>
                  </a:cubicBezTo>
                  <a:lnTo>
                    <a:pt x="156411" y="1843"/>
                  </a:lnTo>
                  <a:close/>
                </a:path>
              </a:pathLst>
            </a:custGeom>
            <a:solidFill>
              <a:srgbClr val="FF6B6B"/>
            </a:solidFill>
            <a:ln w="9525" cap="flat">
              <a:noFill/>
              <a:prstDash val="solid"/>
              <a:miter/>
            </a:ln>
          </p:spPr>
          <p:txBody>
            <a:bodyPr rtlCol="0" anchor="ctr"/>
            <a:lstStyle/>
            <a:p>
              <a:endParaRPr lang="en-US" sz="1568"/>
            </a:p>
          </p:txBody>
        </p:sp>
        <p:sp>
          <p:nvSpPr>
            <p:cNvPr id="43" name="Freeform: Shape 42">
              <a:extLst>
                <a:ext uri="{FF2B5EF4-FFF2-40B4-BE49-F238E27FC236}">
                  <a16:creationId xmlns:a16="http://schemas.microsoft.com/office/drawing/2014/main" id="{471E66EA-005F-424B-93B5-0622B568D0CE}"/>
                </a:ext>
              </a:extLst>
            </p:cNvPr>
            <p:cNvSpPr/>
            <p:nvPr/>
          </p:nvSpPr>
          <p:spPr>
            <a:xfrm>
              <a:off x="5579806" y="4999336"/>
              <a:ext cx="127783" cy="149899"/>
            </a:xfrm>
            <a:custGeom>
              <a:avLst/>
              <a:gdLst>
                <a:gd name="connsiteX0" fmla="*/ 52465 w 127782"/>
                <a:gd name="connsiteY0" fmla="*/ 135769 h 149899"/>
                <a:gd name="connsiteX1" fmla="*/ 52465 w 127782"/>
                <a:gd name="connsiteY1" fmla="*/ 77038 h 149899"/>
                <a:gd name="connsiteX2" fmla="*/ 127660 w 127782"/>
                <a:gd name="connsiteY2" fmla="*/ 1843 h 149899"/>
                <a:gd name="connsiteX3" fmla="*/ 77038 w 127782"/>
                <a:gd name="connsiteY3" fmla="*/ 1843 h 149899"/>
                <a:gd name="connsiteX4" fmla="*/ 1843 w 127782"/>
                <a:gd name="connsiteY4" fmla="*/ 77038 h 149899"/>
                <a:gd name="connsiteX5" fmla="*/ 1843 w 127782"/>
                <a:gd name="connsiteY5" fmla="*/ 135769 h 149899"/>
                <a:gd name="connsiteX6" fmla="*/ 14621 w 127782"/>
                <a:gd name="connsiteY6" fmla="*/ 148548 h 149899"/>
                <a:gd name="connsiteX7" fmla="*/ 65243 w 127782"/>
                <a:gd name="connsiteY7" fmla="*/ 148548 h 149899"/>
                <a:gd name="connsiteX8" fmla="*/ 52465 w 127782"/>
                <a:gd name="connsiteY8" fmla="*/ 135769 h 149899"/>
                <a:gd name="connsiteX9" fmla="*/ 52465 w 127782"/>
                <a:gd name="connsiteY9" fmla="*/ 135769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82" h="149899">
                  <a:moveTo>
                    <a:pt x="52465" y="135769"/>
                  </a:moveTo>
                  <a:lnTo>
                    <a:pt x="52465" y="77038"/>
                  </a:lnTo>
                  <a:cubicBezTo>
                    <a:pt x="52465" y="35755"/>
                    <a:pt x="86376" y="1843"/>
                    <a:pt x="127660" y="1843"/>
                  </a:cubicBezTo>
                  <a:lnTo>
                    <a:pt x="77038" y="1843"/>
                  </a:lnTo>
                  <a:cubicBezTo>
                    <a:pt x="35755" y="1843"/>
                    <a:pt x="1843" y="35755"/>
                    <a:pt x="1843" y="77038"/>
                  </a:cubicBezTo>
                  <a:lnTo>
                    <a:pt x="1843" y="135769"/>
                  </a:lnTo>
                  <a:cubicBezTo>
                    <a:pt x="1843" y="142896"/>
                    <a:pt x="7495" y="148548"/>
                    <a:pt x="14621" y="148548"/>
                  </a:cubicBezTo>
                  <a:lnTo>
                    <a:pt x="65243" y="148548"/>
                  </a:lnTo>
                  <a:cubicBezTo>
                    <a:pt x="58117" y="148548"/>
                    <a:pt x="52465" y="142896"/>
                    <a:pt x="52465" y="135769"/>
                  </a:cubicBezTo>
                  <a:lnTo>
                    <a:pt x="52465" y="135769"/>
                  </a:lnTo>
                  <a:close/>
                </a:path>
              </a:pathLst>
            </a:custGeom>
            <a:solidFill>
              <a:srgbClr val="EE5253"/>
            </a:solidFill>
            <a:ln w="9525" cap="flat">
              <a:noFill/>
              <a:prstDash val="solid"/>
              <a:miter/>
            </a:ln>
          </p:spPr>
          <p:txBody>
            <a:bodyPr rtlCol="0" anchor="ctr"/>
            <a:lstStyle/>
            <a:p>
              <a:endParaRPr lang="en-US" sz="1568"/>
            </a:p>
          </p:txBody>
        </p:sp>
        <p:sp>
          <p:nvSpPr>
            <p:cNvPr id="44" name="Freeform: Shape 43">
              <a:extLst>
                <a:ext uri="{FF2B5EF4-FFF2-40B4-BE49-F238E27FC236}">
                  <a16:creationId xmlns:a16="http://schemas.microsoft.com/office/drawing/2014/main" id="{7D587754-617D-4249-ACA4-14D376C22E14}"/>
                </a:ext>
              </a:extLst>
            </p:cNvPr>
            <p:cNvSpPr/>
            <p:nvPr/>
          </p:nvSpPr>
          <p:spPr>
            <a:xfrm>
              <a:off x="5732900" y="5052907"/>
              <a:ext cx="41775" cy="95837"/>
            </a:xfrm>
            <a:custGeom>
              <a:avLst/>
              <a:gdLst>
                <a:gd name="connsiteX0" fmla="*/ 39686 w 41775"/>
                <a:gd name="connsiteY0" fmla="*/ 20765 h 95837"/>
                <a:gd name="connsiteX1" fmla="*/ 20765 w 41775"/>
                <a:gd name="connsiteY1" fmla="*/ 1843 h 95837"/>
                <a:gd name="connsiteX2" fmla="*/ 1843 w 41775"/>
                <a:gd name="connsiteY2" fmla="*/ 20765 h 95837"/>
                <a:gd name="connsiteX3" fmla="*/ 1843 w 41775"/>
                <a:gd name="connsiteY3" fmla="*/ 94977 h 95837"/>
                <a:gd name="connsiteX4" fmla="*/ 39932 w 41775"/>
                <a:gd name="connsiteY4" fmla="*/ 94977 h 95837"/>
                <a:gd name="connsiteX5" fmla="*/ 39932 w 41775"/>
                <a:gd name="connsiteY5" fmla="*/ 20765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775" h="95837">
                  <a:moveTo>
                    <a:pt x="39686" y="20765"/>
                  </a:moveTo>
                  <a:cubicBezTo>
                    <a:pt x="39686" y="10198"/>
                    <a:pt x="31086" y="1843"/>
                    <a:pt x="20765" y="1843"/>
                  </a:cubicBezTo>
                  <a:cubicBezTo>
                    <a:pt x="10198" y="1843"/>
                    <a:pt x="1843" y="10444"/>
                    <a:pt x="1843" y="20765"/>
                  </a:cubicBezTo>
                  <a:lnTo>
                    <a:pt x="1843" y="94977"/>
                  </a:lnTo>
                  <a:lnTo>
                    <a:pt x="39932" y="94977"/>
                  </a:lnTo>
                  <a:lnTo>
                    <a:pt x="39932" y="20765"/>
                  </a:lnTo>
                  <a:close/>
                </a:path>
              </a:pathLst>
            </a:custGeom>
            <a:solidFill>
              <a:srgbClr val="EE5253"/>
            </a:solidFill>
            <a:ln w="9525" cap="flat">
              <a:noFill/>
              <a:prstDash val="solid"/>
              <a:miter/>
            </a:ln>
          </p:spPr>
          <p:txBody>
            <a:bodyPr rtlCol="0" anchor="ctr"/>
            <a:lstStyle/>
            <a:p>
              <a:endParaRPr lang="en-US" sz="1568"/>
            </a:p>
          </p:txBody>
        </p:sp>
        <p:sp>
          <p:nvSpPr>
            <p:cNvPr id="45" name="Freeform: Shape 44">
              <a:extLst>
                <a:ext uri="{FF2B5EF4-FFF2-40B4-BE49-F238E27FC236}">
                  <a16:creationId xmlns:a16="http://schemas.microsoft.com/office/drawing/2014/main" id="{02DA93A0-9E29-4319-9A3D-8686D5D3C150}"/>
                </a:ext>
              </a:extLst>
            </p:cNvPr>
            <p:cNvSpPr/>
            <p:nvPr/>
          </p:nvSpPr>
          <p:spPr>
            <a:xfrm>
              <a:off x="5618632" y="5052907"/>
              <a:ext cx="39318" cy="95837"/>
            </a:xfrm>
            <a:custGeom>
              <a:avLst/>
              <a:gdLst>
                <a:gd name="connsiteX0" fmla="*/ 39686 w 39317"/>
                <a:gd name="connsiteY0" fmla="*/ 94977 h 95837"/>
                <a:gd name="connsiteX1" fmla="*/ 39686 w 39317"/>
                <a:gd name="connsiteY1" fmla="*/ 20765 h 95837"/>
                <a:gd name="connsiteX2" fmla="*/ 20765 w 39317"/>
                <a:gd name="connsiteY2" fmla="*/ 1843 h 95837"/>
                <a:gd name="connsiteX3" fmla="*/ 1843 w 39317"/>
                <a:gd name="connsiteY3" fmla="*/ 20765 h 95837"/>
                <a:gd name="connsiteX4" fmla="*/ 1843 w 39317"/>
                <a:gd name="connsiteY4" fmla="*/ 94977 h 95837"/>
                <a:gd name="connsiteX5" fmla="*/ 39686 w 39317"/>
                <a:gd name="connsiteY5" fmla="*/ 94977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17" h="95837">
                  <a:moveTo>
                    <a:pt x="39686" y="94977"/>
                  </a:moveTo>
                  <a:lnTo>
                    <a:pt x="39686" y="20765"/>
                  </a:lnTo>
                  <a:cubicBezTo>
                    <a:pt x="39686" y="10198"/>
                    <a:pt x="31086" y="1843"/>
                    <a:pt x="20765" y="1843"/>
                  </a:cubicBezTo>
                  <a:cubicBezTo>
                    <a:pt x="10198" y="1843"/>
                    <a:pt x="1843" y="10444"/>
                    <a:pt x="1843" y="20765"/>
                  </a:cubicBezTo>
                  <a:lnTo>
                    <a:pt x="1843" y="94977"/>
                  </a:lnTo>
                  <a:lnTo>
                    <a:pt x="39686" y="94977"/>
                  </a:lnTo>
                  <a:close/>
                </a:path>
              </a:pathLst>
            </a:custGeom>
            <a:solidFill>
              <a:srgbClr val="EE5253"/>
            </a:solidFill>
            <a:ln w="9525" cap="flat">
              <a:noFill/>
              <a:prstDash val="solid"/>
              <a:miter/>
            </a:ln>
          </p:spPr>
          <p:txBody>
            <a:bodyPr rtlCol="0" anchor="ctr"/>
            <a:lstStyle/>
            <a:p>
              <a:endParaRPr lang="en-US" sz="1568"/>
            </a:p>
          </p:txBody>
        </p:sp>
        <p:sp>
          <p:nvSpPr>
            <p:cNvPr id="46" name="Freeform: Shape 45">
              <a:extLst>
                <a:ext uri="{FF2B5EF4-FFF2-40B4-BE49-F238E27FC236}">
                  <a16:creationId xmlns:a16="http://schemas.microsoft.com/office/drawing/2014/main" id="{79F29873-94CA-4EA6-9B09-95056EA3C26C}"/>
                </a:ext>
              </a:extLst>
            </p:cNvPr>
            <p:cNvSpPr/>
            <p:nvPr/>
          </p:nvSpPr>
          <p:spPr>
            <a:xfrm>
              <a:off x="6047688" y="4607387"/>
              <a:ext cx="142527" cy="142527"/>
            </a:xfrm>
            <a:custGeom>
              <a:avLst/>
              <a:gdLst>
                <a:gd name="connsiteX0" fmla="*/ 142404 w 142527"/>
                <a:gd name="connsiteY0" fmla="*/ 72124 h 142527"/>
                <a:gd name="connsiteX1" fmla="*/ 72124 w 142527"/>
                <a:gd name="connsiteY1" fmla="*/ 142404 h 142527"/>
                <a:gd name="connsiteX2" fmla="*/ 1843 w 142527"/>
                <a:gd name="connsiteY2" fmla="*/ 72124 h 142527"/>
                <a:gd name="connsiteX3" fmla="*/ 72124 w 142527"/>
                <a:gd name="connsiteY3" fmla="*/ 1843 h 142527"/>
                <a:gd name="connsiteX4" fmla="*/ 142404 w 142527"/>
                <a:gd name="connsiteY4" fmla="*/ 72124 h 142527"/>
                <a:gd name="connsiteX5" fmla="*/ 142404 w 142527"/>
                <a:gd name="connsiteY5"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527" h="142527">
                  <a:moveTo>
                    <a:pt x="142404" y="72124"/>
                  </a:moveTo>
                  <a:cubicBezTo>
                    <a:pt x="142404" y="110950"/>
                    <a:pt x="110950" y="142404"/>
                    <a:pt x="72124" y="142404"/>
                  </a:cubicBezTo>
                  <a:cubicBezTo>
                    <a:pt x="33297" y="142404"/>
                    <a:pt x="1843" y="110950"/>
                    <a:pt x="1843" y="72124"/>
                  </a:cubicBezTo>
                  <a:cubicBezTo>
                    <a:pt x="2089" y="33297"/>
                    <a:pt x="33543" y="1843"/>
                    <a:pt x="72124" y="1843"/>
                  </a:cubicBezTo>
                  <a:cubicBezTo>
                    <a:pt x="110950" y="1843"/>
                    <a:pt x="142404" y="33297"/>
                    <a:pt x="142404" y="72124"/>
                  </a:cubicBezTo>
                  <a:lnTo>
                    <a:pt x="142404" y="72124"/>
                  </a:lnTo>
                  <a:close/>
                </a:path>
              </a:pathLst>
            </a:custGeom>
            <a:solidFill>
              <a:srgbClr val="FFCDBF"/>
            </a:solidFill>
            <a:ln w="9525" cap="flat">
              <a:noFill/>
              <a:prstDash val="solid"/>
              <a:miter/>
            </a:ln>
          </p:spPr>
          <p:txBody>
            <a:bodyPr rtlCol="0" anchor="ctr"/>
            <a:lstStyle/>
            <a:p>
              <a:endParaRPr lang="en-US" sz="1568"/>
            </a:p>
          </p:txBody>
        </p:sp>
        <p:sp>
          <p:nvSpPr>
            <p:cNvPr id="47" name="Freeform: Shape 46">
              <a:extLst>
                <a:ext uri="{FF2B5EF4-FFF2-40B4-BE49-F238E27FC236}">
                  <a16:creationId xmlns:a16="http://schemas.microsoft.com/office/drawing/2014/main" id="{C6C83879-67F5-4C87-90B6-9FD812C426C2}"/>
                </a:ext>
              </a:extLst>
            </p:cNvPr>
            <p:cNvSpPr/>
            <p:nvPr/>
          </p:nvSpPr>
          <p:spPr>
            <a:xfrm>
              <a:off x="6003210" y="4747702"/>
              <a:ext cx="230992" cy="149899"/>
            </a:xfrm>
            <a:custGeom>
              <a:avLst/>
              <a:gdLst>
                <a:gd name="connsiteX0" fmla="*/ 156411 w 230992"/>
                <a:gd name="connsiteY0" fmla="*/ 1843 h 149899"/>
                <a:gd name="connsiteX1" fmla="*/ 77038 w 230992"/>
                <a:gd name="connsiteY1" fmla="*/ 1843 h 149899"/>
                <a:gd name="connsiteX2" fmla="*/ 1843 w 230992"/>
                <a:gd name="connsiteY2" fmla="*/ 77038 h 149899"/>
                <a:gd name="connsiteX3" fmla="*/ 1843 w 230992"/>
                <a:gd name="connsiteY3" fmla="*/ 135769 h 149899"/>
                <a:gd name="connsiteX4" fmla="*/ 14621 w 230992"/>
                <a:gd name="connsiteY4" fmla="*/ 148548 h 149899"/>
                <a:gd name="connsiteX5" fmla="*/ 218828 w 230992"/>
                <a:gd name="connsiteY5" fmla="*/ 148548 h 149899"/>
                <a:gd name="connsiteX6" fmla="*/ 231606 w 230992"/>
                <a:gd name="connsiteY6" fmla="*/ 135769 h 149899"/>
                <a:gd name="connsiteX7" fmla="*/ 231606 w 230992"/>
                <a:gd name="connsiteY7" fmla="*/ 77038 h 149899"/>
                <a:gd name="connsiteX8" fmla="*/ 156411 w 230992"/>
                <a:gd name="connsiteY8" fmla="*/ 1843 h 149899"/>
                <a:gd name="connsiteX9" fmla="*/ 156411 w 230992"/>
                <a:gd name="connsiteY9" fmla="*/ 1843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0992" h="149899">
                  <a:moveTo>
                    <a:pt x="156411" y="1843"/>
                  </a:moveTo>
                  <a:lnTo>
                    <a:pt x="77038" y="1843"/>
                  </a:lnTo>
                  <a:cubicBezTo>
                    <a:pt x="35755" y="1843"/>
                    <a:pt x="1843" y="35755"/>
                    <a:pt x="1843" y="77038"/>
                  </a:cubicBezTo>
                  <a:lnTo>
                    <a:pt x="1843" y="135769"/>
                  </a:lnTo>
                  <a:cubicBezTo>
                    <a:pt x="1843" y="142896"/>
                    <a:pt x="7495" y="148548"/>
                    <a:pt x="14621" y="148548"/>
                  </a:cubicBezTo>
                  <a:lnTo>
                    <a:pt x="218828" y="148548"/>
                  </a:lnTo>
                  <a:cubicBezTo>
                    <a:pt x="225955" y="148548"/>
                    <a:pt x="231606" y="142896"/>
                    <a:pt x="231606" y="135769"/>
                  </a:cubicBezTo>
                  <a:lnTo>
                    <a:pt x="231606" y="77038"/>
                  </a:lnTo>
                  <a:cubicBezTo>
                    <a:pt x="231606" y="35755"/>
                    <a:pt x="197695" y="1843"/>
                    <a:pt x="156411" y="1843"/>
                  </a:cubicBezTo>
                  <a:lnTo>
                    <a:pt x="156411" y="1843"/>
                  </a:lnTo>
                  <a:close/>
                </a:path>
              </a:pathLst>
            </a:custGeom>
            <a:solidFill>
              <a:srgbClr val="FF6B6B"/>
            </a:solidFill>
            <a:ln w="9525" cap="flat">
              <a:noFill/>
              <a:prstDash val="solid"/>
              <a:miter/>
            </a:ln>
          </p:spPr>
          <p:txBody>
            <a:bodyPr rtlCol="0" anchor="ctr"/>
            <a:lstStyle/>
            <a:p>
              <a:endParaRPr lang="en-US" sz="1568"/>
            </a:p>
          </p:txBody>
        </p:sp>
        <p:sp>
          <p:nvSpPr>
            <p:cNvPr id="48" name="Freeform: Shape 47">
              <a:extLst>
                <a:ext uri="{FF2B5EF4-FFF2-40B4-BE49-F238E27FC236}">
                  <a16:creationId xmlns:a16="http://schemas.microsoft.com/office/drawing/2014/main" id="{E18E720E-2F62-4E68-B5E1-00E8B35F454E}"/>
                </a:ext>
              </a:extLst>
            </p:cNvPr>
            <p:cNvSpPr/>
            <p:nvPr/>
          </p:nvSpPr>
          <p:spPr>
            <a:xfrm>
              <a:off x="6003210" y="4747702"/>
              <a:ext cx="127783" cy="149899"/>
            </a:xfrm>
            <a:custGeom>
              <a:avLst/>
              <a:gdLst>
                <a:gd name="connsiteX0" fmla="*/ 52465 w 127782"/>
                <a:gd name="connsiteY0" fmla="*/ 135769 h 149899"/>
                <a:gd name="connsiteX1" fmla="*/ 52465 w 127782"/>
                <a:gd name="connsiteY1" fmla="*/ 77038 h 149899"/>
                <a:gd name="connsiteX2" fmla="*/ 127660 w 127782"/>
                <a:gd name="connsiteY2" fmla="*/ 1843 h 149899"/>
                <a:gd name="connsiteX3" fmla="*/ 77038 w 127782"/>
                <a:gd name="connsiteY3" fmla="*/ 1843 h 149899"/>
                <a:gd name="connsiteX4" fmla="*/ 1843 w 127782"/>
                <a:gd name="connsiteY4" fmla="*/ 77038 h 149899"/>
                <a:gd name="connsiteX5" fmla="*/ 1843 w 127782"/>
                <a:gd name="connsiteY5" fmla="*/ 135769 h 149899"/>
                <a:gd name="connsiteX6" fmla="*/ 14621 w 127782"/>
                <a:gd name="connsiteY6" fmla="*/ 148548 h 149899"/>
                <a:gd name="connsiteX7" fmla="*/ 65243 w 127782"/>
                <a:gd name="connsiteY7" fmla="*/ 148548 h 149899"/>
                <a:gd name="connsiteX8" fmla="*/ 52465 w 127782"/>
                <a:gd name="connsiteY8" fmla="*/ 135769 h 149899"/>
                <a:gd name="connsiteX9" fmla="*/ 52465 w 127782"/>
                <a:gd name="connsiteY9" fmla="*/ 135769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82" h="149899">
                  <a:moveTo>
                    <a:pt x="52465" y="135769"/>
                  </a:moveTo>
                  <a:lnTo>
                    <a:pt x="52465" y="77038"/>
                  </a:lnTo>
                  <a:cubicBezTo>
                    <a:pt x="52465" y="35755"/>
                    <a:pt x="86376" y="1843"/>
                    <a:pt x="127660" y="1843"/>
                  </a:cubicBezTo>
                  <a:lnTo>
                    <a:pt x="77038" y="1843"/>
                  </a:lnTo>
                  <a:cubicBezTo>
                    <a:pt x="35755" y="1843"/>
                    <a:pt x="1843" y="35755"/>
                    <a:pt x="1843" y="77038"/>
                  </a:cubicBezTo>
                  <a:lnTo>
                    <a:pt x="1843" y="135769"/>
                  </a:lnTo>
                  <a:cubicBezTo>
                    <a:pt x="1843" y="142896"/>
                    <a:pt x="7495" y="148548"/>
                    <a:pt x="14621" y="148548"/>
                  </a:cubicBezTo>
                  <a:lnTo>
                    <a:pt x="65243" y="148548"/>
                  </a:lnTo>
                  <a:cubicBezTo>
                    <a:pt x="58117" y="148548"/>
                    <a:pt x="52465" y="142896"/>
                    <a:pt x="52465" y="135769"/>
                  </a:cubicBezTo>
                  <a:lnTo>
                    <a:pt x="52465" y="135769"/>
                  </a:lnTo>
                  <a:close/>
                </a:path>
              </a:pathLst>
            </a:custGeom>
            <a:solidFill>
              <a:srgbClr val="EE5253"/>
            </a:solidFill>
            <a:ln w="9525" cap="flat">
              <a:noFill/>
              <a:prstDash val="solid"/>
              <a:miter/>
            </a:ln>
          </p:spPr>
          <p:txBody>
            <a:bodyPr rtlCol="0" anchor="ctr"/>
            <a:lstStyle/>
            <a:p>
              <a:endParaRPr lang="en-US" sz="1568"/>
            </a:p>
          </p:txBody>
        </p:sp>
        <p:sp>
          <p:nvSpPr>
            <p:cNvPr id="49" name="Freeform: Shape 48">
              <a:extLst>
                <a:ext uri="{FF2B5EF4-FFF2-40B4-BE49-F238E27FC236}">
                  <a16:creationId xmlns:a16="http://schemas.microsoft.com/office/drawing/2014/main" id="{ACD4C6FC-593B-442E-9351-24C24721FE91}"/>
                </a:ext>
              </a:extLst>
            </p:cNvPr>
            <p:cNvSpPr/>
            <p:nvPr/>
          </p:nvSpPr>
          <p:spPr>
            <a:xfrm>
              <a:off x="6156303" y="4801273"/>
              <a:ext cx="39318" cy="95837"/>
            </a:xfrm>
            <a:custGeom>
              <a:avLst/>
              <a:gdLst>
                <a:gd name="connsiteX0" fmla="*/ 39686 w 39317"/>
                <a:gd name="connsiteY0" fmla="*/ 20765 h 95837"/>
                <a:gd name="connsiteX1" fmla="*/ 20765 w 39317"/>
                <a:gd name="connsiteY1" fmla="*/ 1843 h 95837"/>
                <a:gd name="connsiteX2" fmla="*/ 1843 w 39317"/>
                <a:gd name="connsiteY2" fmla="*/ 20765 h 95837"/>
                <a:gd name="connsiteX3" fmla="*/ 1843 w 39317"/>
                <a:gd name="connsiteY3" fmla="*/ 94977 h 95837"/>
                <a:gd name="connsiteX4" fmla="*/ 39686 w 39317"/>
                <a:gd name="connsiteY4" fmla="*/ 94977 h 95837"/>
                <a:gd name="connsiteX5" fmla="*/ 39686 w 39317"/>
                <a:gd name="connsiteY5" fmla="*/ 20765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17" h="95837">
                  <a:moveTo>
                    <a:pt x="39686" y="20765"/>
                  </a:moveTo>
                  <a:cubicBezTo>
                    <a:pt x="39686" y="10198"/>
                    <a:pt x="31086" y="1843"/>
                    <a:pt x="20765" y="1843"/>
                  </a:cubicBezTo>
                  <a:cubicBezTo>
                    <a:pt x="10198" y="1843"/>
                    <a:pt x="1843" y="10444"/>
                    <a:pt x="1843" y="20765"/>
                  </a:cubicBezTo>
                  <a:lnTo>
                    <a:pt x="1843" y="94977"/>
                  </a:lnTo>
                  <a:lnTo>
                    <a:pt x="39686" y="94977"/>
                  </a:lnTo>
                  <a:lnTo>
                    <a:pt x="39686" y="20765"/>
                  </a:lnTo>
                  <a:close/>
                </a:path>
              </a:pathLst>
            </a:custGeom>
            <a:solidFill>
              <a:srgbClr val="EE5253"/>
            </a:solidFill>
            <a:ln w="9525" cap="flat">
              <a:noFill/>
              <a:prstDash val="solid"/>
              <a:miter/>
            </a:ln>
          </p:spPr>
          <p:txBody>
            <a:bodyPr rtlCol="0" anchor="ctr"/>
            <a:lstStyle/>
            <a:p>
              <a:endParaRPr lang="en-US" sz="1568"/>
            </a:p>
          </p:txBody>
        </p:sp>
        <p:sp>
          <p:nvSpPr>
            <p:cNvPr id="50" name="Freeform: Shape 49">
              <a:extLst>
                <a:ext uri="{FF2B5EF4-FFF2-40B4-BE49-F238E27FC236}">
                  <a16:creationId xmlns:a16="http://schemas.microsoft.com/office/drawing/2014/main" id="{5AA5944B-C4AD-4625-8136-74FDAD3BBFCD}"/>
                </a:ext>
              </a:extLst>
            </p:cNvPr>
            <p:cNvSpPr/>
            <p:nvPr/>
          </p:nvSpPr>
          <p:spPr>
            <a:xfrm>
              <a:off x="6042036" y="4801273"/>
              <a:ext cx="39318" cy="95837"/>
            </a:xfrm>
            <a:custGeom>
              <a:avLst/>
              <a:gdLst>
                <a:gd name="connsiteX0" fmla="*/ 39686 w 39317"/>
                <a:gd name="connsiteY0" fmla="*/ 94977 h 95837"/>
                <a:gd name="connsiteX1" fmla="*/ 39686 w 39317"/>
                <a:gd name="connsiteY1" fmla="*/ 20765 h 95837"/>
                <a:gd name="connsiteX2" fmla="*/ 20765 w 39317"/>
                <a:gd name="connsiteY2" fmla="*/ 1843 h 95837"/>
                <a:gd name="connsiteX3" fmla="*/ 1843 w 39317"/>
                <a:gd name="connsiteY3" fmla="*/ 20765 h 95837"/>
                <a:gd name="connsiteX4" fmla="*/ 1843 w 39317"/>
                <a:gd name="connsiteY4" fmla="*/ 94977 h 95837"/>
                <a:gd name="connsiteX5" fmla="*/ 39686 w 39317"/>
                <a:gd name="connsiteY5" fmla="*/ 94977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17" h="95837">
                  <a:moveTo>
                    <a:pt x="39686" y="94977"/>
                  </a:moveTo>
                  <a:lnTo>
                    <a:pt x="39686" y="20765"/>
                  </a:lnTo>
                  <a:cubicBezTo>
                    <a:pt x="39686" y="10198"/>
                    <a:pt x="31086" y="1843"/>
                    <a:pt x="20765" y="1843"/>
                  </a:cubicBezTo>
                  <a:cubicBezTo>
                    <a:pt x="10198" y="1843"/>
                    <a:pt x="1843" y="10444"/>
                    <a:pt x="1843" y="20765"/>
                  </a:cubicBezTo>
                  <a:lnTo>
                    <a:pt x="1843" y="94977"/>
                  </a:lnTo>
                  <a:lnTo>
                    <a:pt x="39686" y="94977"/>
                  </a:lnTo>
                  <a:close/>
                </a:path>
              </a:pathLst>
            </a:custGeom>
            <a:solidFill>
              <a:srgbClr val="EE5253"/>
            </a:solidFill>
            <a:ln w="9525" cap="flat">
              <a:noFill/>
              <a:prstDash val="solid"/>
              <a:miter/>
            </a:ln>
          </p:spPr>
          <p:txBody>
            <a:bodyPr rtlCol="0" anchor="ctr"/>
            <a:lstStyle/>
            <a:p>
              <a:endParaRPr lang="en-US" sz="1568"/>
            </a:p>
          </p:txBody>
        </p:sp>
        <p:sp>
          <p:nvSpPr>
            <p:cNvPr id="51" name="Freeform: Shape 50">
              <a:extLst>
                <a:ext uri="{FF2B5EF4-FFF2-40B4-BE49-F238E27FC236}">
                  <a16:creationId xmlns:a16="http://schemas.microsoft.com/office/drawing/2014/main" id="{E3794AA1-ACB3-4378-9B25-0E6DA4F28AEB}"/>
                </a:ext>
              </a:extLst>
            </p:cNvPr>
            <p:cNvSpPr/>
            <p:nvPr/>
          </p:nvSpPr>
          <p:spPr>
            <a:xfrm>
              <a:off x="6047688" y="5578291"/>
              <a:ext cx="142527" cy="142527"/>
            </a:xfrm>
            <a:custGeom>
              <a:avLst/>
              <a:gdLst>
                <a:gd name="connsiteX0" fmla="*/ 142404 w 142527"/>
                <a:gd name="connsiteY0" fmla="*/ 72124 h 142527"/>
                <a:gd name="connsiteX1" fmla="*/ 72124 w 142527"/>
                <a:gd name="connsiteY1" fmla="*/ 142404 h 142527"/>
                <a:gd name="connsiteX2" fmla="*/ 1843 w 142527"/>
                <a:gd name="connsiteY2" fmla="*/ 72124 h 142527"/>
                <a:gd name="connsiteX3" fmla="*/ 72124 w 142527"/>
                <a:gd name="connsiteY3" fmla="*/ 1843 h 142527"/>
                <a:gd name="connsiteX4" fmla="*/ 142404 w 142527"/>
                <a:gd name="connsiteY4" fmla="*/ 72124 h 142527"/>
                <a:gd name="connsiteX5" fmla="*/ 142404 w 142527"/>
                <a:gd name="connsiteY5"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527" h="142527">
                  <a:moveTo>
                    <a:pt x="142404" y="72124"/>
                  </a:moveTo>
                  <a:cubicBezTo>
                    <a:pt x="142404" y="110950"/>
                    <a:pt x="110950" y="142404"/>
                    <a:pt x="72124" y="142404"/>
                  </a:cubicBezTo>
                  <a:cubicBezTo>
                    <a:pt x="33297" y="142404"/>
                    <a:pt x="1843" y="110950"/>
                    <a:pt x="1843" y="72124"/>
                  </a:cubicBezTo>
                  <a:cubicBezTo>
                    <a:pt x="1843" y="33297"/>
                    <a:pt x="33297" y="1843"/>
                    <a:pt x="72124" y="1843"/>
                  </a:cubicBezTo>
                  <a:cubicBezTo>
                    <a:pt x="110950" y="2089"/>
                    <a:pt x="142404" y="33297"/>
                    <a:pt x="142404" y="72124"/>
                  </a:cubicBezTo>
                  <a:lnTo>
                    <a:pt x="142404" y="72124"/>
                  </a:lnTo>
                  <a:close/>
                </a:path>
              </a:pathLst>
            </a:custGeom>
            <a:solidFill>
              <a:srgbClr val="FFCDBF"/>
            </a:solidFill>
            <a:ln w="9525" cap="flat">
              <a:noFill/>
              <a:prstDash val="solid"/>
              <a:miter/>
            </a:ln>
          </p:spPr>
          <p:txBody>
            <a:bodyPr rtlCol="0" anchor="ctr"/>
            <a:lstStyle/>
            <a:p>
              <a:endParaRPr lang="en-US" sz="1568"/>
            </a:p>
          </p:txBody>
        </p:sp>
        <p:sp>
          <p:nvSpPr>
            <p:cNvPr id="52" name="Freeform: Shape 51">
              <a:extLst>
                <a:ext uri="{FF2B5EF4-FFF2-40B4-BE49-F238E27FC236}">
                  <a16:creationId xmlns:a16="http://schemas.microsoft.com/office/drawing/2014/main" id="{FCADCE88-CDF0-479E-8FE0-86FA1505CC01}"/>
                </a:ext>
              </a:extLst>
            </p:cNvPr>
            <p:cNvSpPr/>
            <p:nvPr/>
          </p:nvSpPr>
          <p:spPr>
            <a:xfrm>
              <a:off x="6047688" y="5066422"/>
              <a:ext cx="110581" cy="142527"/>
            </a:xfrm>
            <a:custGeom>
              <a:avLst/>
              <a:gdLst>
                <a:gd name="connsiteX0" fmla="*/ 78021 w 110581"/>
                <a:gd name="connsiteY0" fmla="*/ 72124 h 142527"/>
                <a:gd name="connsiteX1" fmla="*/ 110213 w 110581"/>
                <a:gd name="connsiteY1" fmla="*/ 13147 h 142527"/>
                <a:gd name="connsiteX2" fmla="*/ 72124 w 110581"/>
                <a:gd name="connsiteY2" fmla="*/ 1843 h 142527"/>
                <a:gd name="connsiteX3" fmla="*/ 1843 w 110581"/>
                <a:gd name="connsiteY3" fmla="*/ 72124 h 142527"/>
                <a:gd name="connsiteX4" fmla="*/ 72124 w 110581"/>
                <a:gd name="connsiteY4" fmla="*/ 142404 h 142527"/>
                <a:gd name="connsiteX5" fmla="*/ 110213 w 110581"/>
                <a:gd name="connsiteY5" fmla="*/ 131100 h 142527"/>
                <a:gd name="connsiteX6" fmla="*/ 78021 w 110581"/>
                <a:gd name="connsiteY6" fmla="*/ 72124 h 142527"/>
                <a:gd name="connsiteX7" fmla="*/ 78021 w 110581"/>
                <a:gd name="connsiteY7"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581" h="142527">
                  <a:moveTo>
                    <a:pt x="78021" y="72124"/>
                  </a:moveTo>
                  <a:cubicBezTo>
                    <a:pt x="78021" y="47304"/>
                    <a:pt x="90800" y="25679"/>
                    <a:pt x="110213" y="13147"/>
                  </a:cubicBezTo>
                  <a:cubicBezTo>
                    <a:pt x="99155" y="6021"/>
                    <a:pt x="86131" y="1843"/>
                    <a:pt x="72124" y="1843"/>
                  </a:cubicBezTo>
                  <a:cubicBezTo>
                    <a:pt x="33297" y="1843"/>
                    <a:pt x="1843" y="33297"/>
                    <a:pt x="1843" y="72124"/>
                  </a:cubicBezTo>
                  <a:cubicBezTo>
                    <a:pt x="1843" y="110950"/>
                    <a:pt x="33297" y="142404"/>
                    <a:pt x="72124" y="142404"/>
                  </a:cubicBezTo>
                  <a:cubicBezTo>
                    <a:pt x="86131" y="142404"/>
                    <a:pt x="99155" y="138227"/>
                    <a:pt x="110213" y="131100"/>
                  </a:cubicBezTo>
                  <a:cubicBezTo>
                    <a:pt x="90800" y="118568"/>
                    <a:pt x="78021" y="96943"/>
                    <a:pt x="78021" y="72124"/>
                  </a:cubicBezTo>
                  <a:lnTo>
                    <a:pt x="78021" y="72124"/>
                  </a:lnTo>
                  <a:close/>
                </a:path>
              </a:pathLst>
            </a:custGeom>
            <a:solidFill>
              <a:srgbClr val="FFBEAB"/>
            </a:solidFill>
            <a:ln w="9525" cap="flat">
              <a:noFill/>
              <a:prstDash val="solid"/>
              <a:miter/>
            </a:ln>
          </p:spPr>
          <p:txBody>
            <a:bodyPr rtlCol="0" anchor="ctr"/>
            <a:lstStyle/>
            <a:p>
              <a:endParaRPr lang="en-US" sz="1568"/>
            </a:p>
          </p:txBody>
        </p:sp>
        <p:sp>
          <p:nvSpPr>
            <p:cNvPr id="53" name="Freeform: Shape 52">
              <a:extLst>
                <a:ext uri="{FF2B5EF4-FFF2-40B4-BE49-F238E27FC236}">
                  <a16:creationId xmlns:a16="http://schemas.microsoft.com/office/drawing/2014/main" id="{8D435128-C1E2-4780-A7BB-59B50B126DE9}"/>
                </a:ext>
              </a:extLst>
            </p:cNvPr>
            <p:cNvSpPr/>
            <p:nvPr/>
          </p:nvSpPr>
          <p:spPr>
            <a:xfrm>
              <a:off x="6471092" y="5300609"/>
              <a:ext cx="110581" cy="142527"/>
            </a:xfrm>
            <a:custGeom>
              <a:avLst/>
              <a:gdLst>
                <a:gd name="connsiteX0" fmla="*/ 78021 w 110581"/>
                <a:gd name="connsiteY0" fmla="*/ 72124 h 142527"/>
                <a:gd name="connsiteX1" fmla="*/ 110213 w 110581"/>
                <a:gd name="connsiteY1" fmla="*/ 13147 h 142527"/>
                <a:gd name="connsiteX2" fmla="*/ 72124 w 110581"/>
                <a:gd name="connsiteY2" fmla="*/ 1843 h 142527"/>
                <a:gd name="connsiteX3" fmla="*/ 1843 w 110581"/>
                <a:gd name="connsiteY3" fmla="*/ 72124 h 142527"/>
                <a:gd name="connsiteX4" fmla="*/ 72124 w 110581"/>
                <a:gd name="connsiteY4" fmla="*/ 142158 h 142527"/>
                <a:gd name="connsiteX5" fmla="*/ 110213 w 110581"/>
                <a:gd name="connsiteY5" fmla="*/ 130855 h 142527"/>
                <a:gd name="connsiteX6" fmla="*/ 78021 w 110581"/>
                <a:gd name="connsiteY6" fmla="*/ 72124 h 142527"/>
                <a:gd name="connsiteX7" fmla="*/ 78021 w 110581"/>
                <a:gd name="connsiteY7"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581" h="142527">
                  <a:moveTo>
                    <a:pt x="78021" y="72124"/>
                  </a:moveTo>
                  <a:cubicBezTo>
                    <a:pt x="78021" y="47304"/>
                    <a:pt x="90800" y="25679"/>
                    <a:pt x="110213" y="13147"/>
                  </a:cubicBezTo>
                  <a:cubicBezTo>
                    <a:pt x="99155" y="6020"/>
                    <a:pt x="86131" y="1843"/>
                    <a:pt x="72124" y="1843"/>
                  </a:cubicBezTo>
                  <a:cubicBezTo>
                    <a:pt x="33297" y="1843"/>
                    <a:pt x="1843" y="33297"/>
                    <a:pt x="1843" y="72124"/>
                  </a:cubicBezTo>
                  <a:cubicBezTo>
                    <a:pt x="1843" y="110950"/>
                    <a:pt x="33297" y="142158"/>
                    <a:pt x="72124" y="142158"/>
                  </a:cubicBezTo>
                  <a:cubicBezTo>
                    <a:pt x="86131" y="142158"/>
                    <a:pt x="99155" y="137981"/>
                    <a:pt x="110213" y="130855"/>
                  </a:cubicBezTo>
                  <a:cubicBezTo>
                    <a:pt x="90800" y="118568"/>
                    <a:pt x="78021" y="96943"/>
                    <a:pt x="78021" y="72124"/>
                  </a:cubicBezTo>
                  <a:lnTo>
                    <a:pt x="78021" y="72124"/>
                  </a:lnTo>
                  <a:close/>
                </a:path>
              </a:pathLst>
            </a:custGeom>
            <a:solidFill>
              <a:srgbClr val="FFBEAB"/>
            </a:solidFill>
            <a:ln w="9525" cap="flat">
              <a:noFill/>
              <a:prstDash val="solid"/>
              <a:miter/>
            </a:ln>
          </p:spPr>
          <p:txBody>
            <a:bodyPr rtlCol="0" anchor="ctr"/>
            <a:lstStyle/>
            <a:p>
              <a:endParaRPr lang="en-US" sz="1568"/>
            </a:p>
          </p:txBody>
        </p:sp>
        <p:sp>
          <p:nvSpPr>
            <p:cNvPr id="54" name="Freeform: Shape 53">
              <a:extLst>
                <a:ext uri="{FF2B5EF4-FFF2-40B4-BE49-F238E27FC236}">
                  <a16:creationId xmlns:a16="http://schemas.microsoft.com/office/drawing/2014/main" id="{46B7F081-B705-418D-A5EE-8D9059AFC049}"/>
                </a:ext>
              </a:extLst>
            </p:cNvPr>
            <p:cNvSpPr/>
            <p:nvPr/>
          </p:nvSpPr>
          <p:spPr>
            <a:xfrm>
              <a:off x="5624530" y="5300609"/>
              <a:ext cx="110581" cy="142527"/>
            </a:xfrm>
            <a:custGeom>
              <a:avLst/>
              <a:gdLst>
                <a:gd name="connsiteX0" fmla="*/ 78021 w 110581"/>
                <a:gd name="connsiteY0" fmla="*/ 72124 h 142527"/>
                <a:gd name="connsiteX1" fmla="*/ 110213 w 110581"/>
                <a:gd name="connsiteY1" fmla="*/ 13147 h 142527"/>
                <a:gd name="connsiteX2" fmla="*/ 72124 w 110581"/>
                <a:gd name="connsiteY2" fmla="*/ 1843 h 142527"/>
                <a:gd name="connsiteX3" fmla="*/ 1843 w 110581"/>
                <a:gd name="connsiteY3" fmla="*/ 72124 h 142527"/>
                <a:gd name="connsiteX4" fmla="*/ 72124 w 110581"/>
                <a:gd name="connsiteY4" fmla="*/ 142158 h 142527"/>
                <a:gd name="connsiteX5" fmla="*/ 110213 w 110581"/>
                <a:gd name="connsiteY5" fmla="*/ 130855 h 142527"/>
                <a:gd name="connsiteX6" fmla="*/ 78021 w 110581"/>
                <a:gd name="connsiteY6" fmla="*/ 72124 h 142527"/>
                <a:gd name="connsiteX7" fmla="*/ 78021 w 110581"/>
                <a:gd name="connsiteY7"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581" h="142527">
                  <a:moveTo>
                    <a:pt x="78021" y="72124"/>
                  </a:moveTo>
                  <a:cubicBezTo>
                    <a:pt x="78021" y="47304"/>
                    <a:pt x="90800" y="25679"/>
                    <a:pt x="110213" y="13147"/>
                  </a:cubicBezTo>
                  <a:cubicBezTo>
                    <a:pt x="99155" y="6020"/>
                    <a:pt x="86131" y="1843"/>
                    <a:pt x="72124" y="1843"/>
                  </a:cubicBezTo>
                  <a:cubicBezTo>
                    <a:pt x="33297" y="1843"/>
                    <a:pt x="1843" y="33297"/>
                    <a:pt x="1843" y="72124"/>
                  </a:cubicBezTo>
                  <a:cubicBezTo>
                    <a:pt x="1843" y="110950"/>
                    <a:pt x="33297" y="142158"/>
                    <a:pt x="72124" y="142158"/>
                  </a:cubicBezTo>
                  <a:cubicBezTo>
                    <a:pt x="86131" y="142158"/>
                    <a:pt x="99155" y="137981"/>
                    <a:pt x="110213" y="130855"/>
                  </a:cubicBezTo>
                  <a:cubicBezTo>
                    <a:pt x="90800" y="118568"/>
                    <a:pt x="78021" y="96943"/>
                    <a:pt x="78021" y="72124"/>
                  </a:cubicBezTo>
                  <a:lnTo>
                    <a:pt x="78021" y="72124"/>
                  </a:lnTo>
                  <a:close/>
                </a:path>
              </a:pathLst>
            </a:custGeom>
            <a:solidFill>
              <a:srgbClr val="FFBEAB"/>
            </a:solidFill>
            <a:ln w="9525" cap="flat">
              <a:noFill/>
              <a:prstDash val="solid"/>
              <a:miter/>
            </a:ln>
          </p:spPr>
          <p:txBody>
            <a:bodyPr rtlCol="0" anchor="ctr"/>
            <a:lstStyle/>
            <a:p>
              <a:endParaRPr lang="en-US" sz="1568"/>
            </a:p>
          </p:txBody>
        </p:sp>
        <p:sp>
          <p:nvSpPr>
            <p:cNvPr id="55" name="Freeform: Shape 54">
              <a:extLst>
                <a:ext uri="{FF2B5EF4-FFF2-40B4-BE49-F238E27FC236}">
                  <a16:creationId xmlns:a16="http://schemas.microsoft.com/office/drawing/2014/main" id="{809E5E15-185D-46F0-9812-AE7F39682086}"/>
                </a:ext>
              </a:extLst>
            </p:cNvPr>
            <p:cNvSpPr/>
            <p:nvPr/>
          </p:nvSpPr>
          <p:spPr>
            <a:xfrm>
              <a:off x="6471092" y="4858775"/>
              <a:ext cx="110581" cy="142527"/>
            </a:xfrm>
            <a:custGeom>
              <a:avLst/>
              <a:gdLst>
                <a:gd name="connsiteX0" fmla="*/ 78021 w 110581"/>
                <a:gd name="connsiteY0" fmla="*/ 72124 h 142527"/>
                <a:gd name="connsiteX1" fmla="*/ 110213 w 110581"/>
                <a:gd name="connsiteY1" fmla="*/ 13147 h 142527"/>
                <a:gd name="connsiteX2" fmla="*/ 72124 w 110581"/>
                <a:gd name="connsiteY2" fmla="*/ 1843 h 142527"/>
                <a:gd name="connsiteX3" fmla="*/ 1843 w 110581"/>
                <a:gd name="connsiteY3" fmla="*/ 72124 h 142527"/>
                <a:gd name="connsiteX4" fmla="*/ 72124 w 110581"/>
                <a:gd name="connsiteY4" fmla="*/ 142404 h 142527"/>
                <a:gd name="connsiteX5" fmla="*/ 110213 w 110581"/>
                <a:gd name="connsiteY5" fmla="*/ 131100 h 142527"/>
                <a:gd name="connsiteX6" fmla="*/ 78021 w 110581"/>
                <a:gd name="connsiteY6" fmla="*/ 72124 h 142527"/>
                <a:gd name="connsiteX7" fmla="*/ 78021 w 110581"/>
                <a:gd name="connsiteY7"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581" h="142527">
                  <a:moveTo>
                    <a:pt x="78021" y="72124"/>
                  </a:moveTo>
                  <a:cubicBezTo>
                    <a:pt x="78021" y="47304"/>
                    <a:pt x="90800" y="25679"/>
                    <a:pt x="110213" y="13147"/>
                  </a:cubicBezTo>
                  <a:cubicBezTo>
                    <a:pt x="99155" y="6021"/>
                    <a:pt x="86131" y="1843"/>
                    <a:pt x="72124" y="1843"/>
                  </a:cubicBezTo>
                  <a:cubicBezTo>
                    <a:pt x="33297" y="1843"/>
                    <a:pt x="1843" y="33297"/>
                    <a:pt x="1843" y="72124"/>
                  </a:cubicBezTo>
                  <a:cubicBezTo>
                    <a:pt x="1843" y="110950"/>
                    <a:pt x="33297" y="142404"/>
                    <a:pt x="72124" y="142404"/>
                  </a:cubicBezTo>
                  <a:cubicBezTo>
                    <a:pt x="86131" y="142404"/>
                    <a:pt x="99155" y="138227"/>
                    <a:pt x="110213" y="131100"/>
                  </a:cubicBezTo>
                  <a:cubicBezTo>
                    <a:pt x="90800" y="118568"/>
                    <a:pt x="78021" y="96943"/>
                    <a:pt x="78021" y="72124"/>
                  </a:cubicBezTo>
                  <a:lnTo>
                    <a:pt x="78021" y="72124"/>
                  </a:lnTo>
                  <a:close/>
                </a:path>
              </a:pathLst>
            </a:custGeom>
            <a:solidFill>
              <a:srgbClr val="FFBEAB"/>
            </a:solidFill>
            <a:ln w="9525" cap="flat">
              <a:noFill/>
              <a:prstDash val="solid"/>
              <a:miter/>
            </a:ln>
          </p:spPr>
          <p:txBody>
            <a:bodyPr rtlCol="0" anchor="ctr"/>
            <a:lstStyle/>
            <a:p>
              <a:endParaRPr lang="en-US" sz="1568"/>
            </a:p>
          </p:txBody>
        </p:sp>
        <p:sp>
          <p:nvSpPr>
            <p:cNvPr id="56" name="Freeform: Shape 55">
              <a:extLst>
                <a:ext uri="{FF2B5EF4-FFF2-40B4-BE49-F238E27FC236}">
                  <a16:creationId xmlns:a16="http://schemas.microsoft.com/office/drawing/2014/main" id="{FAB46D7F-CDA3-41E5-B7D9-B2669D99B6D1}"/>
                </a:ext>
              </a:extLst>
            </p:cNvPr>
            <p:cNvSpPr/>
            <p:nvPr/>
          </p:nvSpPr>
          <p:spPr>
            <a:xfrm>
              <a:off x="5624530" y="4858775"/>
              <a:ext cx="110581" cy="142527"/>
            </a:xfrm>
            <a:custGeom>
              <a:avLst/>
              <a:gdLst>
                <a:gd name="connsiteX0" fmla="*/ 78021 w 110581"/>
                <a:gd name="connsiteY0" fmla="*/ 72124 h 142527"/>
                <a:gd name="connsiteX1" fmla="*/ 110213 w 110581"/>
                <a:gd name="connsiteY1" fmla="*/ 13147 h 142527"/>
                <a:gd name="connsiteX2" fmla="*/ 72124 w 110581"/>
                <a:gd name="connsiteY2" fmla="*/ 1843 h 142527"/>
                <a:gd name="connsiteX3" fmla="*/ 1843 w 110581"/>
                <a:gd name="connsiteY3" fmla="*/ 72124 h 142527"/>
                <a:gd name="connsiteX4" fmla="*/ 72124 w 110581"/>
                <a:gd name="connsiteY4" fmla="*/ 142404 h 142527"/>
                <a:gd name="connsiteX5" fmla="*/ 110213 w 110581"/>
                <a:gd name="connsiteY5" fmla="*/ 131100 h 142527"/>
                <a:gd name="connsiteX6" fmla="*/ 78021 w 110581"/>
                <a:gd name="connsiteY6" fmla="*/ 72124 h 142527"/>
                <a:gd name="connsiteX7" fmla="*/ 78021 w 110581"/>
                <a:gd name="connsiteY7"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581" h="142527">
                  <a:moveTo>
                    <a:pt x="78021" y="72124"/>
                  </a:moveTo>
                  <a:cubicBezTo>
                    <a:pt x="78021" y="47304"/>
                    <a:pt x="90800" y="25679"/>
                    <a:pt x="110213" y="13147"/>
                  </a:cubicBezTo>
                  <a:cubicBezTo>
                    <a:pt x="99155" y="6021"/>
                    <a:pt x="86131" y="1843"/>
                    <a:pt x="72124" y="1843"/>
                  </a:cubicBezTo>
                  <a:cubicBezTo>
                    <a:pt x="33297" y="1843"/>
                    <a:pt x="1843" y="33297"/>
                    <a:pt x="1843" y="72124"/>
                  </a:cubicBezTo>
                  <a:cubicBezTo>
                    <a:pt x="1843" y="110950"/>
                    <a:pt x="33297" y="142404"/>
                    <a:pt x="72124" y="142404"/>
                  </a:cubicBezTo>
                  <a:cubicBezTo>
                    <a:pt x="86131" y="142404"/>
                    <a:pt x="99155" y="138227"/>
                    <a:pt x="110213" y="131100"/>
                  </a:cubicBezTo>
                  <a:cubicBezTo>
                    <a:pt x="90800" y="118568"/>
                    <a:pt x="78021" y="96943"/>
                    <a:pt x="78021" y="72124"/>
                  </a:cubicBezTo>
                  <a:lnTo>
                    <a:pt x="78021" y="72124"/>
                  </a:lnTo>
                  <a:close/>
                </a:path>
              </a:pathLst>
            </a:custGeom>
            <a:solidFill>
              <a:srgbClr val="FFBEAB"/>
            </a:solidFill>
            <a:ln w="9525" cap="flat">
              <a:noFill/>
              <a:prstDash val="solid"/>
              <a:miter/>
            </a:ln>
          </p:spPr>
          <p:txBody>
            <a:bodyPr rtlCol="0" anchor="ctr"/>
            <a:lstStyle/>
            <a:p>
              <a:endParaRPr lang="en-US" sz="1568"/>
            </a:p>
          </p:txBody>
        </p:sp>
        <p:sp>
          <p:nvSpPr>
            <p:cNvPr id="57" name="Freeform: Shape 56">
              <a:extLst>
                <a:ext uri="{FF2B5EF4-FFF2-40B4-BE49-F238E27FC236}">
                  <a16:creationId xmlns:a16="http://schemas.microsoft.com/office/drawing/2014/main" id="{4D8A1682-1F17-4A02-BB3A-CECCD01E7C9A}"/>
                </a:ext>
              </a:extLst>
            </p:cNvPr>
            <p:cNvSpPr/>
            <p:nvPr/>
          </p:nvSpPr>
          <p:spPr>
            <a:xfrm>
              <a:off x="6047688" y="4607387"/>
              <a:ext cx="110581" cy="142527"/>
            </a:xfrm>
            <a:custGeom>
              <a:avLst/>
              <a:gdLst>
                <a:gd name="connsiteX0" fmla="*/ 78021 w 110581"/>
                <a:gd name="connsiteY0" fmla="*/ 72124 h 142527"/>
                <a:gd name="connsiteX1" fmla="*/ 110213 w 110581"/>
                <a:gd name="connsiteY1" fmla="*/ 13147 h 142527"/>
                <a:gd name="connsiteX2" fmla="*/ 72124 w 110581"/>
                <a:gd name="connsiteY2" fmla="*/ 1843 h 142527"/>
                <a:gd name="connsiteX3" fmla="*/ 1843 w 110581"/>
                <a:gd name="connsiteY3" fmla="*/ 72124 h 142527"/>
                <a:gd name="connsiteX4" fmla="*/ 72124 w 110581"/>
                <a:gd name="connsiteY4" fmla="*/ 142404 h 142527"/>
                <a:gd name="connsiteX5" fmla="*/ 110213 w 110581"/>
                <a:gd name="connsiteY5" fmla="*/ 131100 h 142527"/>
                <a:gd name="connsiteX6" fmla="*/ 78021 w 110581"/>
                <a:gd name="connsiteY6" fmla="*/ 72124 h 142527"/>
                <a:gd name="connsiteX7" fmla="*/ 78021 w 110581"/>
                <a:gd name="connsiteY7"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581" h="142527">
                  <a:moveTo>
                    <a:pt x="78021" y="72124"/>
                  </a:moveTo>
                  <a:cubicBezTo>
                    <a:pt x="78021" y="47304"/>
                    <a:pt x="90800" y="25679"/>
                    <a:pt x="110213" y="13147"/>
                  </a:cubicBezTo>
                  <a:cubicBezTo>
                    <a:pt x="99400" y="6021"/>
                    <a:pt x="86131" y="1843"/>
                    <a:pt x="72124" y="1843"/>
                  </a:cubicBezTo>
                  <a:cubicBezTo>
                    <a:pt x="33297" y="1843"/>
                    <a:pt x="1843" y="33297"/>
                    <a:pt x="1843" y="72124"/>
                  </a:cubicBezTo>
                  <a:cubicBezTo>
                    <a:pt x="1843" y="110950"/>
                    <a:pt x="33297" y="142404"/>
                    <a:pt x="72124" y="142404"/>
                  </a:cubicBezTo>
                  <a:cubicBezTo>
                    <a:pt x="86131" y="142404"/>
                    <a:pt x="99155" y="138227"/>
                    <a:pt x="110213" y="131100"/>
                  </a:cubicBezTo>
                  <a:cubicBezTo>
                    <a:pt x="90800" y="118568"/>
                    <a:pt x="78021" y="96697"/>
                    <a:pt x="78021" y="72124"/>
                  </a:cubicBezTo>
                  <a:lnTo>
                    <a:pt x="78021" y="72124"/>
                  </a:lnTo>
                  <a:close/>
                </a:path>
              </a:pathLst>
            </a:custGeom>
            <a:solidFill>
              <a:srgbClr val="FFBEAB"/>
            </a:solidFill>
            <a:ln w="9525" cap="flat">
              <a:noFill/>
              <a:prstDash val="solid"/>
              <a:miter/>
            </a:ln>
          </p:spPr>
          <p:txBody>
            <a:bodyPr rtlCol="0" anchor="ctr"/>
            <a:lstStyle/>
            <a:p>
              <a:endParaRPr lang="en-US" sz="1568"/>
            </a:p>
          </p:txBody>
        </p:sp>
        <p:sp>
          <p:nvSpPr>
            <p:cNvPr id="58" name="Freeform: Shape 57">
              <a:extLst>
                <a:ext uri="{FF2B5EF4-FFF2-40B4-BE49-F238E27FC236}">
                  <a16:creationId xmlns:a16="http://schemas.microsoft.com/office/drawing/2014/main" id="{C0EDF92F-6105-4CAD-92B0-FF777D5D2980}"/>
                </a:ext>
              </a:extLst>
            </p:cNvPr>
            <p:cNvSpPr/>
            <p:nvPr/>
          </p:nvSpPr>
          <p:spPr>
            <a:xfrm>
              <a:off x="6047688" y="5578291"/>
              <a:ext cx="110581" cy="142527"/>
            </a:xfrm>
            <a:custGeom>
              <a:avLst/>
              <a:gdLst>
                <a:gd name="connsiteX0" fmla="*/ 78021 w 110581"/>
                <a:gd name="connsiteY0" fmla="*/ 72124 h 142527"/>
                <a:gd name="connsiteX1" fmla="*/ 110213 w 110581"/>
                <a:gd name="connsiteY1" fmla="*/ 13147 h 142527"/>
                <a:gd name="connsiteX2" fmla="*/ 72124 w 110581"/>
                <a:gd name="connsiteY2" fmla="*/ 1843 h 142527"/>
                <a:gd name="connsiteX3" fmla="*/ 1843 w 110581"/>
                <a:gd name="connsiteY3" fmla="*/ 72124 h 142527"/>
                <a:gd name="connsiteX4" fmla="*/ 72124 w 110581"/>
                <a:gd name="connsiteY4" fmla="*/ 142404 h 142527"/>
                <a:gd name="connsiteX5" fmla="*/ 110213 w 110581"/>
                <a:gd name="connsiteY5" fmla="*/ 131100 h 142527"/>
                <a:gd name="connsiteX6" fmla="*/ 78021 w 110581"/>
                <a:gd name="connsiteY6" fmla="*/ 72124 h 142527"/>
                <a:gd name="connsiteX7" fmla="*/ 78021 w 110581"/>
                <a:gd name="connsiteY7"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581" h="142527">
                  <a:moveTo>
                    <a:pt x="78021" y="72124"/>
                  </a:moveTo>
                  <a:cubicBezTo>
                    <a:pt x="78021" y="47304"/>
                    <a:pt x="90800" y="25679"/>
                    <a:pt x="110213" y="13147"/>
                  </a:cubicBezTo>
                  <a:cubicBezTo>
                    <a:pt x="99155" y="6020"/>
                    <a:pt x="86131" y="1843"/>
                    <a:pt x="72124" y="1843"/>
                  </a:cubicBezTo>
                  <a:cubicBezTo>
                    <a:pt x="33297" y="1843"/>
                    <a:pt x="1843" y="33297"/>
                    <a:pt x="1843" y="72124"/>
                  </a:cubicBezTo>
                  <a:cubicBezTo>
                    <a:pt x="1843" y="110950"/>
                    <a:pt x="33297" y="142404"/>
                    <a:pt x="72124" y="142404"/>
                  </a:cubicBezTo>
                  <a:cubicBezTo>
                    <a:pt x="86131" y="142404"/>
                    <a:pt x="99155" y="138227"/>
                    <a:pt x="110213" y="131100"/>
                  </a:cubicBezTo>
                  <a:cubicBezTo>
                    <a:pt x="90800" y="118568"/>
                    <a:pt x="78021" y="96943"/>
                    <a:pt x="78021" y="72124"/>
                  </a:cubicBezTo>
                  <a:lnTo>
                    <a:pt x="78021" y="72124"/>
                  </a:lnTo>
                  <a:close/>
                </a:path>
              </a:pathLst>
            </a:custGeom>
            <a:solidFill>
              <a:srgbClr val="FFBEAB"/>
            </a:solidFill>
            <a:ln w="9525" cap="flat">
              <a:noFill/>
              <a:prstDash val="solid"/>
              <a:miter/>
            </a:ln>
          </p:spPr>
          <p:txBody>
            <a:bodyPr rtlCol="0" anchor="ctr"/>
            <a:lstStyle/>
            <a:p>
              <a:endParaRPr lang="en-US" sz="1568"/>
            </a:p>
          </p:txBody>
        </p:sp>
        <p:sp>
          <p:nvSpPr>
            <p:cNvPr id="59" name="Freeform: Shape 58">
              <a:extLst>
                <a:ext uri="{FF2B5EF4-FFF2-40B4-BE49-F238E27FC236}">
                  <a16:creationId xmlns:a16="http://schemas.microsoft.com/office/drawing/2014/main" id="{1A0DD798-E79D-4F9C-86F9-5F7EA99299A8}"/>
                </a:ext>
              </a:extLst>
            </p:cNvPr>
            <p:cNvSpPr/>
            <p:nvPr/>
          </p:nvSpPr>
          <p:spPr>
            <a:xfrm>
              <a:off x="6003210" y="5718852"/>
              <a:ext cx="230992" cy="149899"/>
            </a:xfrm>
            <a:custGeom>
              <a:avLst/>
              <a:gdLst>
                <a:gd name="connsiteX0" fmla="*/ 156411 w 230992"/>
                <a:gd name="connsiteY0" fmla="*/ 1843 h 149899"/>
                <a:gd name="connsiteX1" fmla="*/ 77038 w 230992"/>
                <a:gd name="connsiteY1" fmla="*/ 1843 h 149899"/>
                <a:gd name="connsiteX2" fmla="*/ 1843 w 230992"/>
                <a:gd name="connsiteY2" fmla="*/ 77038 h 149899"/>
                <a:gd name="connsiteX3" fmla="*/ 1843 w 230992"/>
                <a:gd name="connsiteY3" fmla="*/ 135769 h 149899"/>
                <a:gd name="connsiteX4" fmla="*/ 14621 w 230992"/>
                <a:gd name="connsiteY4" fmla="*/ 148548 h 149899"/>
                <a:gd name="connsiteX5" fmla="*/ 218828 w 230992"/>
                <a:gd name="connsiteY5" fmla="*/ 148548 h 149899"/>
                <a:gd name="connsiteX6" fmla="*/ 231606 w 230992"/>
                <a:gd name="connsiteY6" fmla="*/ 135769 h 149899"/>
                <a:gd name="connsiteX7" fmla="*/ 231606 w 230992"/>
                <a:gd name="connsiteY7" fmla="*/ 77038 h 149899"/>
                <a:gd name="connsiteX8" fmla="*/ 156411 w 230992"/>
                <a:gd name="connsiteY8" fmla="*/ 1843 h 149899"/>
                <a:gd name="connsiteX9" fmla="*/ 156411 w 230992"/>
                <a:gd name="connsiteY9" fmla="*/ 1843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0992" h="149899">
                  <a:moveTo>
                    <a:pt x="156411" y="1843"/>
                  </a:moveTo>
                  <a:lnTo>
                    <a:pt x="77038" y="1843"/>
                  </a:lnTo>
                  <a:cubicBezTo>
                    <a:pt x="35755" y="1843"/>
                    <a:pt x="1843" y="35755"/>
                    <a:pt x="1843" y="77038"/>
                  </a:cubicBezTo>
                  <a:lnTo>
                    <a:pt x="1843" y="135769"/>
                  </a:lnTo>
                  <a:cubicBezTo>
                    <a:pt x="1843" y="142896"/>
                    <a:pt x="7495" y="148548"/>
                    <a:pt x="14621" y="148548"/>
                  </a:cubicBezTo>
                  <a:lnTo>
                    <a:pt x="218828" y="148548"/>
                  </a:lnTo>
                  <a:cubicBezTo>
                    <a:pt x="225955" y="148548"/>
                    <a:pt x="231606" y="142896"/>
                    <a:pt x="231606" y="135769"/>
                  </a:cubicBezTo>
                  <a:lnTo>
                    <a:pt x="231606" y="77038"/>
                  </a:lnTo>
                  <a:cubicBezTo>
                    <a:pt x="231606" y="35509"/>
                    <a:pt x="197695" y="1843"/>
                    <a:pt x="156411" y="1843"/>
                  </a:cubicBezTo>
                  <a:lnTo>
                    <a:pt x="156411" y="1843"/>
                  </a:lnTo>
                  <a:close/>
                </a:path>
              </a:pathLst>
            </a:custGeom>
            <a:solidFill>
              <a:srgbClr val="FF6B6B"/>
            </a:solidFill>
            <a:ln w="9525" cap="flat">
              <a:noFill/>
              <a:prstDash val="solid"/>
              <a:miter/>
            </a:ln>
          </p:spPr>
          <p:txBody>
            <a:bodyPr rtlCol="0" anchor="ctr"/>
            <a:lstStyle/>
            <a:p>
              <a:endParaRPr lang="en-US" sz="1568"/>
            </a:p>
          </p:txBody>
        </p:sp>
        <p:sp>
          <p:nvSpPr>
            <p:cNvPr id="60" name="Freeform: Shape 59">
              <a:extLst>
                <a:ext uri="{FF2B5EF4-FFF2-40B4-BE49-F238E27FC236}">
                  <a16:creationId xmlns:a16="http://schemas.microsoft.com/office/drawing/2014/main" id="{FC1C0768-2332-487D-9912-E151960FAAAA}"/>
                </a:ext>
              </a:extLst>
            </p:cNvPr>
            <p:cNvSpPr/>
            <p:nvPr/>
          </p:nvSpPr>
          <p:spPr>
            <a:xfrm>
              <a:off x="6003210" y="5718852"/>
              <a:ext cx="127783" cy="149899"/>
            </a:xfrm>
            <a:custGeom>
              <a:avLst/>
              <a:gdLst>
                <a:gd name="connsiteX0" fmla="*/ 52465 w 127782"/>
                <a:gd name="connsiteY0" fmla="*/ 135769 h 149899"/>
                <a:gd name="connsiteX1" fmla="*/ 52465 w 127782"/>
                <a:gd name="connsiteY1" fmla="*/ 77038 h 149899"/>
                <a:gd name="connsiteX2" fmla="*/ 127660 w 127782"/>
                <a:gd name="connsiteY2" fmla="*/ 1843 h 149899"/>
                <a:gd name="connsiteX3" fmla="*/ 77038 w 127782"/>
                <a:gd name="connsiteY3" fmla="*/ 1843 h 149899"/>
                <a:gd name="connsiteX4" fmla="*/ 1843 w 127782"/>
                <a:gd name="connsiteY4" fmla="*/ 77038 h 149899"/>
                <a:gd name="connsiteX5" fmla="*/ 1843 w 127782"/>
                <a:gd name="connsiteY5" fmla="*/ 135769 h 149899"/>
                <a:gd name="connsiteX6" fmla="*/ 14621 w 127782"/>
                <a:gd name="connsiteY6" fmla="*/ 148548 h 149899"/>
                <a:gd name="connsiteX7" fmla="*/ 65243 w 127782"/>
                <a:gd name="connsiteY7" fmla="*/ 148548 h 149899"/>
                <a:gd name="connsiteX8" fmla="*/ 52465 w 127782"/>
                <a:gd name="connsiteY8" fmla="*/ 135769 h 149899"/>
                <a:gd name="connsiteX9" fmla="*/ 52465 w 127782"/>
                <a:gd name="connsiteY9" fmla="*/ 135769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82" h="149899">
                  <a:moveTo>
                    <a:pt x="52465" y="135769"/>
                  </a:moveTo>
                  <a:lnTo>
                    <a:pt x="52465" y="77038"/>
                  </a:lnTo>
                  <a:cubicBezTo>
                    <a:pt x="52465" y="35755"/>
                    <a:pt x="86376" y="1843"/>
                    <a:pt x="127660" y="1843"/>
                  </a:cubicBezTo>
                  <a:lnTo>
                    <a:pt x="77038" y="1843"/>
                  </a:lnTo>
                  <a:cubicBezTo>
                    <a:pt x="35755" y="1843"/>
                    <a:pt x="1843" y="35755"/>
                    <a:pt x="1843" y="77038"/>
                  </a:cubicBezTo>
                  <a:lnTo>
                    <a:pt x="1843" y="135769"/>
                  </a:lnTo>
                  <a:cubicBezTo>
                    <a:pt x="1843" y="142896"/>
                    <a:pt x="7495" y="148548"/>
                    <a:pt x="14621" y="148548"/>
                  </a:cubicBezTo>
                  <a:lnTo>
                    <a:pt x="65243" y="148548"/>
                  </a:lnTo>
                  <a:cubicBezTo>
                    <a:pt x="58117" y="148548"/>
                    <a:pt x="52465" y="142896"/>
                    <a:pt x="52465" y="135769"/>
                  </a:cubicBezTo>
                  <a:lnTo>
                    <a:pt x="52465" y="135769"/>
                  </a:lnTo>
                  <a:close/>
                </a:path>
              </a:pathLst>
            </a:custGeom>
            <a:solidFill>
              <a:srgbClr val="EE5253"/>
            </a:solidFill>
            <a:ln w="9525" cap="flat">
              <a:noFill/>
              <a:prstDash val="solid"/>
              <a:miter/>
            </a:ln>
          </p:spPr>
          <p:txBody>
            <a:bodyPr rtlCol="0" anchor="ctr"/>
            <a:lstStyle/>
            <a:p>
              <a:endParaRPr lang="en-US" sz="1568"/>
            </a:p>
          </p:txBody>
        </p:sp>
        <p:sp>
          <p:nvSpPr>
            <p:cNvPr id="61" name="Freeform: Shape 60">
              <a:extLst>
                <a:ext uri="{FF2B5EF4-FFF2-40B4-BE49-F238E27FC236}">
                  <a16:creationId xmlns:a16="http://schemas.microsoft.com/office/drawing/2014/main" id="{D4883AE5-7934-4606-8600-A71B22854481}"/>
                </a:ext>
              </a:extLst>
            </p:cNvPr>
            <p:cNvSpPr/>
            <p:nvPr/>
          </p:nvSpPr>
          <p:spPr>
            <a:xfrm>
              <a:off x="6156303" y="5772423"/>
              <a:ext cx="39318" cy="95837"/>
            </a:xfrm>
            <a:custGeom>
              <a:avLst/>
              <a:gdLst>
                <a:gd name="connsiteX0" fmla="*/ 39686 w 39317"/>
                <a:gd name="connsiteY0" fmla="*/ 20765 h 95837"/>
                <a:gd name="connsiteX1" fmla="*/ 20765 w 39317"/>
                <a:gd name="connsiteY1" fmla="*/ 1843 h 95837"/>
                <a:gd name="connsiteX2" fmla="*/ 1843 w 39317"/>
                <a:gd name="connsiteY2" fmla="*/ 20765 h 95837"/>
                <a:gd name="connsiteX3" fmla="*/ 1843 w 39317"/>
                <a:gd name="connsiteY3" fmla="*/ 94977 h 95837"/>
                <a:gd name="connsiteX4" fmla="*/ 39686 w 39317"/>
                <a:gd name="connsiteY4" fmla="*/ 94977 h 95837"/>
                <a:gd name="connsiteX5" fmla="*/ 39686 w 39317"/>
                <a:gd name="connsiteY5" fmla="*/ 20765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17" h="95837">
                  <a:moveTo>
                    <a:pt x="39686" y="20765"/>
                  </a:moveTo>
                  <a:cubicBezTo>
                    <a:pt x="39686" y="10198"/>
                    <a:pt x="31086" y="1843"/>
                    <a:pt x="20765" y="1843"/>
                  </a:cubicBezTo>
                  <a:cubicBezTo>
                    <a:pt x="10198" y="1843"/>
                    <a:pt x="1843" y="10444"/>
                    <a:pt x="1843" y="20765"/>
                  </a:cubicBezTo>
                  <a:lnTo>
                    <a:pt x="1843" y="94977"/>
                  </a:lnTo>
                  <a:lnTo>
                    <a:pt x="39686" y="94977"/>
                  </a:lnTo>
                  <a:lnTo>
                    <a:pt x="39686" y="20765"/>
                  </a:lnTo>
                  <a:close/>
                </a:path>
              </a:pathLst>
            </a:custGeom>
            <a:solidFill>
              <a:srgbClr val="EE5253"/>
            </a:solidFill>
            <a:ln w="9525" cap="flat">
              <a:noFill/>
              <a:prstDash val="solid"/>
              <a:miter/>
            </a:ln>
          </p:spPr>
          <p:txBody>
            <a:bodyPr rtlCol="0" anchor="ctr"/>
            <a:lstStyle/>
            <a:p>
              <a:endParaRPr lang="en-US" sz="1568"/>
            </a:p>
          </p:txBody>
        </p:sp>
        <p:sp>
          <p:nvSpPr>
            <p:cNvPr id="62" name="Freeform: Shape 61">
              <a:extLst>
                <a:ext uri="{FF2B5EF4-FFF2-40B4-BE49-F238E27FC236}">
                  <a16:creationId xmlns:a16="http://schemas.microsoft.com/office/drawing/2014/main" id="{0F61614B-5183-4858-8E9E-382455BA9B84}"/>
                </a:ext>
              </a:extLst>
            </p:cNvPr>
            <p:cNvSpPr/>
            <p:nvPr/>
          </p:nvSpPr>
          <p:spPr>
            <a:xfrm>
              <a:off x="6042036" y="5772423"/>
              <a:ext cx="39318" cy="95837"/>
            </a:xfrm>
            <a:custGeom>
              <a:avLst/>
              <a:gdLst>
                <a:gd name="connsiteX0" fmla="*/ 39686 w 39317"/>
                <a:gd name="connsiteY0" fmla="*/ 94977 h 95837"/>
                <a:gd name="connsiteX1" fmla="*/ 39686 w 39317"/>
                <a:gd name="connsiteY1" fmla="*/ 20765 h 95837"/>
                <a:gd name="connsiteX2" fmla="*/ 20765 w 39317"/>
                <a:gd name="connsiteY2" fmla="*/ 1843 h 95837"/>
                <a:gd name="connsiteX3" fmla="*/ 1843 w 39317"/>
                <a:gd name="connsiteY3" fmla="*/ 20765 h 95837"/>
                <a:gd name="connsiteX4" fmla="*/ 1843 w 39317"/>
                <a:gd name="connsiteY4" fmla="*/ 94977 h 95837"/>
                <a:gd name="connsiteX5" fmla="*/ 39686 w 39317"/>
                <a:gd name="connsiteY5" fmla="*/ 94977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17" h="95837">
                  <a:moveTo>
                    <a:pt x="39686" y="94977"/>
                  </a:moveTo>
                  <a:lnTo>
                    <a:pt x="39686" y="20765"/>
                  </a:lnTo>
                  <a:cubicBezTo>
                    <a:pt x="39686" y="10198"/>
                    <a:pt x="31086" y="1843"/>
                    <a:pt x="20765" y="1843"/>
                  </a:cubicBezTo>
                  <a:cubicBezTo>
                    <a:pt x="10198" y="1843"/>
                    <a:pt x="1843" y="10444"/>
                    <a:pt x="1843" y="20765"/>
                  </a:cubicBezTo>
                  <a:lnTo>
                    <a:pt x="1843" y="94977"/>
                  </a:lnTo>
                  <a:lnTo>
                    <a:pt x="39686" y="94977"/>
                  </a:lnTo>
                  <a:close/>
                </a:path>
              </a:pathLst>
            </a:custGeom>
            <a:solidFill>
              <a:srgbClr val="EE5253"/>
            </a:solidFill>
            <a:ln w="9525" cap="flat">
              <a:noFill/>
              <a:prstDash val="solid"/>
              <a:miter/>
            </a:ln>
          </p:spPr>
          <p:txBody>
            <a:bodyPr rtlCol="0" anchor="ctr"/>
            <a:lstStyle/>
            <a:p>
              <a:endParaRPr lang="en-US" sz="1568"/>
            </a:p>
          </p:txBody>
        </p:sp>
      </p:grpSp>
    </p:spTree>
    <p:custDataLst>
      <p:tags r:id="rId1"/>
    </p:custDataLst>
    <p:extLst>
      <p:ext uri="{BB962C8B-B14F-4D97-AF65-F5344CB8AC3E}">
        <p14:creationId xmlns:p14="http://schemas.microsoft.com/office/powerpoint/2010/main" val="10733697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itle Slide Light Colo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0308" y="2945834"/>
            <a:ext cx="7923048" cy="1278600"/>
          </a:xfrm>
        </p:spPr>
        <p:txBody>
          <a:bodyPr anchor="b">
            <a:normAutofit/>
          </a:bodyPr>
          <a:lstStyle>
            <a:lvl1pPr algn="l">
              <a:defRPr sz="3920"/>
            </a:lvl1pPr>
          </a:lstStyle>
          <a:p>
            <a:r>
              <a:rPr lang="en-US" dirty="0"/>
              <a:t>Click to insert title</a:t>
            </a:r>
          </a:p>
        </p:txBody>
      </p:sp>
      <p:sp>
        <p:nvSpPr>
          <p:cNvPr id="3" name="Subtitle 2"/>
          <p:cNvSpPr>
            <a:spLocks noGrp="1"/>
          </p:cNvSpPr>
          <p:nvPr>
            <p:ph type="subTitle" idx="1" hasCustomPrompt="1"/>
          </p:nvPr>
        </p:nvSpPr>
        <p:spPr>
          <a:xfrm>
            <a:off x="360308" y="4475368"/>
            <a:ext cx="7923048" cy="407766"/>
          </a:xfrm>
        </p:spPr>
        <p:txBody>
          <a:bodyPr>
            <a:noAutofit/>
          </a:bodyPr>
          <a:lstStyle>
            <a:lvl1pPr marL="0" indent="0" algn="l">
              <a:buNone/>
              <a:defRPr sz="2352"/>
            </a:lvl1pPr>
            <a:lvl2pPr marL="448056" indent="0" algn="ctr">
              <a:buNone/>
              <a:defRPr sz="1960"/>
            </a:lvl2pPr>
            <a:lvl3pPr marL="896112" indent="0" algn="ctr">
              <a:buNone/>
              <a:defRPr sz="1764"/>
            </a:lvl3pPr>
            <a:lvl4pPr marL="1344168" indent="0" algn="ctr">
              <a:buNone/>
              <a:defRPr sz="1568"/>
            </a:lvl4pPr>
            <a:lvl5pPr marL="1792224" indent="0" algn="ctr">
              <a:buNone/>
              <a:defRPr sz="1568"/>
            </a:lvl5pPr>
            <a:lvl6pPr marL="2240280" indent="0" algn="ctr">
              <a:buNone/>
              <a:defRPr sz="1568"/>
            </a:lvl6pPr>
            <a:lvl7pPr marL="2688336" indent="0" algn="ctr">
              <a:buNone/>
              <a:defRPr sz="1568"/>
            </a:lvl7pPr>
            <a:lvl8pPr marL="3136392" indent="0" algn="ctr">
              <a:buNone/>
              <a:defRPr sz="1568"/>
            </a:lvl8pPr>
            <a:lvl9pPr marL="3584448" indent="0" algn="ctr">
              <a:buNone/>
              <a:defRPr sz="1568"/>
            </a:lvl9pPr>
          </a:lstStyle>
          <a:p>
            <a:r>
              <a:rPr lang="en-US" dirty="0"/>
              <a:t>Click to insert date and/or author</a:t>
            </a:r>
          </a:p>
        </p:txBody>
      </p:sp>
      <p:sp>
        <p:nvSpPr>
          <p:cNvPr id="7" name="Rectangle 6">
            <a:extLst>
              <a:ext uri="{FF2B5EF4-FFF2-40B4-BE49-F238E27FC236}">
                <a16:creationId xmlns:a16="http://schemas.microsoft.com/office/drawing/2014/main" id="{A93C2294-A5D1-4DDB-A41A-8F44F1E97ECA}"/>
              </a:ext>
            </a:extLst>
          </p:cNvPr>
          <p:cNvSpPr/>
          <p:nvPr/>
        </p:nvSpPr>
        <p:spPr>
          <a:xfrm>
            <a:off x="2342048" y="305483"/>
            <a:ext cx="6314701" cy="512804"/>
          </a:xfrm>
          <a:prstGeom prst="rect">
            <a:avLst/>
          </a:prstGeom>
        </p:spPr>
        <p:txBody>
          <a:bodyPr wrap="square">
            <a:spAutoFit/>
          </a:bodyPr>
          <a:lstStyle/>
          <a:p>
            <a:pPr algn="r" defTabSz="896112"/>
            <a:r>
              <a:rPr lang="en-US" sz="1372" b="0" dirty="0">
                <a:solidFill>
                  <a:srgbClr val="BA0C2F"/>
                </a:solidFill>
                <a:latin typeface="Gill Sans MT"/>
              </a:rPr>
              <a:t>USAID GLOBAL HEALTH SUPPLY CHAIN PROGRAM</a:t>
            </a:r>
          </a:p>
          <a:p>
            <a:pPr algn="r" defTabSz="896112">
              <a:defRPr/>
            </a:pPr>
            <a:r>
              <a:rPr lang="en-US" sz="1372" dirty="0">
                <a:solidFill>
                  <a:srgbClr val="6C6463"/>
                </a:solidFill>
                <a:latin typeface="Gill Sans MT"/>
              </a:rPr>
              <a:t>Procurement and Supply Management</a:t>
            </a:r>
          </a:p>
        </p:txBody>
      </p:sp>
      <p:pic>
        <p:nvPicPr>
          <p:cNvPr id="8" name="Picture 7" descr="A close up of a sign&#10;&#10;Description generated with very high confidence">
            <a:extLst>
              <a:ext uri="{FF2B5EF4-FFF2-40B4-BE49-F238E27FC236}">
                <a16:creationId xmlns:a16="http://schemas.microsoft.com/office/drawing/2014/main" id="{D2578C65-54AB-43C8-A66B-D902FDACEAB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1041" y="237761"/>
            <a:ext cx="2177634" cy="648250"/>
          </a:xfrm>
          <a:prstGeom prst="rect">
            <a:avLst/>
          </a:prstGeom>
        </p:spPr>
      </p:pic>
      <p:grpSp>
        <p:nvGrpSpPr>
          <p:cNvPr id="6" name="Graphic 13">
            <a:extLst>
              <a:ext uri="{FF2B5EF4-FFF2-40B4-BE49-F238E27FC236}">
                <a16:creationId xmlns:a16="http://schemas.microsoft.com/office/drawing/2014/main" id="{C793B0B2-409E-4E00-890A-8B3CE7012D81}"/>
              </a:ext>
            </a:extLst>
          </p:cNvPr>
          <p:cNvGrpSpPr/>
          <p:nvPr/>
        </p:nvGrpSpPr>
        <p:grpSpPr>
          <a:xfrm>
            <a:off x="435625" y="1855851"/>
            <a:ext cx="616099" cy="720232"/>
            <a:chOff x="5581649" y="4609230"/>
            <a:chExt cx="1076325" cy="1258170"/>
          </a:xfrm>
        </p:grpSpPr>
        <p:sp>
          <p:nvSpPr>
            <p:cNvPr id="9" name="Freeform: Shape 8">
              <a:extLst>
                <a:ext uri="{FF2B5EF4-FFF2-40B4-BE49-F238E27FC236}">
                  <a16:creationId xmlns:a16="http://schemas.microsoft.com/office/drawing/2014/main" id="{5C3C0A7F-29A4-463E-877C-D2AF546F4008}"/>
                </a:ext>
              </a:extLst>
            </p:cNvPr>
            <p:cNvSpPr/>
            <p:nvPr/>
          </p:nvSpPr>
          <p:spPr>
            <a:xfrm>
              <a:off x="6099047" y="4923650"/>
              <a:ext cx="39318" cy="98295"/>
            </a:xfrm>
            <a:custGeom>
              <a:avLst/>
              <a:gdLst>
                <a:gd name="connsiteX0" fmla="*/ 20765 w 39317"/>
                <a:gd name="connsiteY0" fmla="*/ 97434 h 98294"/>
                <a:gd name="connsiteX1" fmla="*/ 1843 w 39317"/>
                <a:gd name="connsiteY1" fmla="*/ 78513 h 98294"/>
                <a:gd name="connsiteX2" fmla="*/ 1843 w 39317"/>
                <a:gd name="connsiteY2" fmla="*/ 20765 h 98294"/>
                <a:gd name="connsiteX3" fmla="*/ 20765 w 39317"/>
                <a:gd name="connsiteY3" fmla="*/ 1843 h 98294"/>
                <a:gd name="connsiteX4" fmla="*/ 39686 w 39317"/>
                <a:gd name="connsiteY4" fmla="*/ 20765 h 98294"/>
                <a:gd name="connsiteX5" fmla="*/ 39686 w 39317"/>
                <a:gd name="connsiteY5" fmla="*/ 78513 h 98294"/>
                <a:gd name="connsiteX6" fmla="*/ 20765 w 39317"/>
                <a:gd name="connsiteY6" fmla="*/ 97434 h 98294"/>
                <a:gd name="connsiteX7" fmla="*/ 20765 w 39317"/>
                <a:gd name="connsiteY7" fmla="*/ 97434 h 98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17" h="98294">
                  <a:moveTo>
                    <a:pt x="20765" y="97434"/>
                  </a:moveTo>
                  <a:cubicBezTo>
                    <a:pt x="10198" y="97434"/>
                    <a:pt x="1843" y="88834"/>
                    <a:pt x="1843" y="78513"/>
                  </a:cubicBezTo>
                  <a:lnTo>
                    <a:pt x="1843" y="20765"/>
                  </a:lnTo>
                  <a:cubicBezTo>
                    <a:pt x="1843" y="10198"/>
                    <a:pt x="10444" y="1843"/>
                    <a:pt x="20765" y="1843"/>
                  </a:cubicBezTo>
                  <a:cubicBezTo>
                    <a:pt x="31331" y="1843"/>
                    <a:pt x="39686" y="10444"/>
                    <a:pt x="39686" y="20765"/>
                  </a:cubicBezTo>
                  <a:lnTo>
                    <a:pt x="39686" y="78513"/>
                  </a:lnTo>
                  <a:cubicBezTo>
                    <a:pt x="39932" y="88834"/>
                    <a:pt x="31331" y="97434"/>
                    <a:pt x="20765" y="97434"/>
                  </a:cubicBezTo>
                  <a:lnTo>
                    <a:pt x="20765" y="97434"/>
                  </a:lnTo>
                  <a:close/>
                </a:path>
              </a:pathLst>
            </a:custGeom>
            <a:solidFill>
              <a:srgbClr val="CCD2DB"/>
            </a:solidFill>
            <a:ln w="9525" cap="flat">
              <a:noFill/>
              <a:prstDash val="solid"/>
              <a:miter/>
            </a:ln>
          </p:spPr>
          <p:txBody>
            <a:bodyPr rtlCol="0" anchor="ctr"/>
            <a:lstStyle/>
            <a:p>
              <a:endParaRPr lang="en-US" sz="1568"/>
            </a:p>
          </p:txBody>
        </p:sp>
        <p:sp>
          <p:nvSpPr>
            <p:cNvPr id="10" name="Freeform: Shape 9">
              <a:extLst>
                <a:ext uri="{FF2B5EF4-FFF2-40B4-BE49-F238E27FC236}">
                  <a16:creationId xmlns:a16="http://schemas.microsoft.com/office/drawing/2014/main" id="{2DC4A2BB-90D8-48AB-95A6-AB926A3B6DA8}"/>
                </a:ext>
              </a:extLst>
            </p:cNvPr>
            <p:cNvSpPr/>
            <p:nvPr/>
          </p:nvSpPr>
          <p:spPr>
            <a:xfrm>
              <a:off x="6099047" y="5453949"/>
              <a:ext cx="39318" cy="98295"/>
            </a:xfrm>
            <a:custGeom>
              <a:avLst/>
              <a:gdLst>
                <a:gd name="connsiteX0" fmla="*/ 20765 w 39317"/>
                <a:gd name="connsiteY0" fmla="*/ 97434 h 98294"/>
                <a:gd name="connsiteX1" fmla="*/ 1843 w 39317"/>
                <a:gd name="connsiteY1" fmla="*/ 78513 h 98294"/>
                <a:gd name="connsiteX2" fmla="*/ 1843 w 39317"/>
                <a:gd name="connsiteY2" fmla="*/ 20765 h 98294"/>
                <a:gd name="connsiteX3" fmla="*/ 20765 w 39317"/>
                <a:gd name="connsiteY3" fmla="*/ 1843 h 98294"/>
                <a:gd name="connsiteX4" fmla="*/ 39686 w 39317"/>
                <a:gd name="connsiteY4" fmla="*/ 20765 h 98294"/>
                <a:gd name="connsiteX5" fmla="*/ 39686 w 39317"/>
                <a:gd name="connsiteY5" fmla="*/ 78513 h 98294"/>
                <a:gd name="connsiteX6" fmla="*/ 20765 w 39317"/>
                <a:gd name="connsiteY6" fmla="*/ 97434 h 98294"/>
                <a:gd name="connsiteX7" fmla="*/ 20765 w 39317"/>
                <a:gd name="connsiteY7" fmla="*/ 97434 h 98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17" h="98294">
                  <a:moveTo>
                    <a:pt x="20765" y="97434"/>
                  </a:moveTo>
                  <a:cubicBezTo>
                    <a:pt x="10198" y="97434"/>
                    <a:pt x="1843" y="88834"/>
                    <a:pt x="1843" y="78513"/>
                  </a:cubicBezTo>
                  <a:lnTo>
                    <a:pt x="1843" y="20765"/>
                  </a:lnTo>
                  <a:cubicBezTo>
                    <a:pt x="1843" y="10198"/>
                    <a:pt x="10444" y="1843"/>
                    <a:pt x="20765" y="1843"/>
                  </a:cubicBezTo>
                  <a:cubicBezTo>
                    <a:pt x="31331" y="1843"/>
                    <a:pt x="39686" y="10444"/>
                    <a:pt x="39686" y="20765"/>
                  </a:cubicBezTo>
                  <a:lnTo>
                    <a:pt x="39686" y="78513"/>
                  </a:lnTo>
                  <a:cubicBezTo>
                    <a:pt x="39932" y="88834"/>
                    <a:pt x="31331" y="97434"/>
                    <a:pt x="20765" y="97434"/>
                  </a:cubicBezTo>
                  <a:lnTo>
                    <a:pt x="20765" y="97434"/>
                  </a:lnTo>
                  <a:close/>
                </a:path>
              </a:pathLst>
            </a:custGeom>
            <a:solidFill>
              <a:srgbClr val="CCD2DB"/>
            </a:solidFill>
            <a:ln w="9525" cap="flat">
              <a:noFill/>
              <a:prstDash val="solid"/>
              <a:miter/>
            </a:ln>
          </p:spPr>
          <p:txBody>
            <a:bodyPr rtlCol="0" anchor="ctr"/>
            <a:lstStyle/>
            <a:p>
              <a:endParaRPr lang="en-US" sz="1568"/>
            </a:p>
          </p:txBody>
        </p:sp>
        <p:sp>
          <p:nvSpPr>
            <p:cNvPr id="11" name="Freeform: Shape 10">
              <a:extLst>
                <a:ext uri="{FF2B5EF4-FFF2-40B4-BE49-F238E27FC236}">
                  <a16:creationId xmlns:a16="http://schemas.microsoft.com/office/drawing/2014/main" id="{36D10536-0B50-465E-B35F-E8F049351F20}"/>
                </a:ext>
              </a:extLst>
            </p:cNvPr>
            <p:cNvSpPr/>
            <p:nvPr/>
          </p:nvSpPr>
          <p:spPr>
            <a:xfrm>
              <a:off x="5844282" y="5070172"/>
              <a:ext cx="90922" cy="68806"/>
            </a:xfrm>
            <a:custGeom>
              <a:avLst/>
              <a:gdLst>
                <a:gd name="connsiteX0" fmla="*/ 61493 w 90922"/>
                <a:gd name="connsiteY0" fmla="*/ 66408 h 68806"/>
                <a:gd name="connsiteX1" fmla="*/ 11363 w 90922"/>
                <a:gd name="connsiteY1" fmla="*/ 37411 h 68806"/>
                <a:gd name="connsiteX2" fmla="*/ 4482 w 90922"/>
                <a:gd name="connsiteY2" fmla="*/ 11363 h 68806"/>
                <a:gd name="connsiteX3" fmla="*/ 30531 w 90922"/>
                <a:gd name="connsiteY3" fmla="*/ 4482 h 68806"/>
                <a:gd name="connsiteX4" fmla="*/ 80661 w 90922"/>
                <a:gd name="connsiteY4" fmla="*/ 33479 h 68806"/>
                <a:gd name="connsiteX5" fmla="*/ 87541 w 90922"/>
                <a:gd name="connsiteY5" fmla="*/ 59527 h 68806"/>
                <a:gd name="connsiteX6" fmla="*/ 61493 w 90922"/>
                <a:gd name="connsiteY6" fmla="*/ 66408 h 68806"/>
                <a:gd name="connsiteX7" fmla="*/ 61493 w 90922"/>
                <a:gd name="connsiteY7" fmla="*/ 66408 h 68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922" h="68806">
                  <a:moveTo>
                    <a:pt x="61493" y="66408"/>
                  </a:moveTo>
                  <a:lnTo>
                    <a:pt x="11363" y="37411"/>
                  </a:lnTo>
                  <a:cubicBezTo>
                    <a:pt x="2271" y="32251"/>
                    <a:pt x="-924" y="20455"/>
                    <a:pt x="4482" y="11363"/>
                  </a:cubicBezTo>
                  <a:cubicBezTo>
                    <a:pt x="9643" y="2271"/>
                    <a:pt x="21438" y="-924"/>
                    <a:pt x="30531" y="4482"/>
                  </a:cubicBezTo>
                  <a:lnTo>
                    <a:pt x="80661" y="33479"/>
                  </a:lnTo>
                  <a:cubicBezTo>
                    <a:pt x="89753" y="38640"/>
                    <a:pt x="92948" y="50435"/>
                    <a:pt x="87541" y="59527"/>
                  </a:cubicBezTo>
                  <a:cubicBezTo>
                    <a:pt x="82135" y="68620"/>
                    <a:pt x="70586" y="71814"/>
                    <a:pt x="61493" y="66408"/>
                  </a:cubicBezTo>
                  <a:lnTo>
                    <a:pt x="61493" y="66408"/>
                  </a:lnTo>
                  <a:close/>
                </a:path>
              </a:pathLst>
            </a:custGeom>
            <a:solidFill>
              <a:srgbClr val="CCD2DB"/>
            </a:solidFill>
            <a:ln w="9525" cap="flat">
              <a:noFill/>
              <a:prstDash val="solid"/>
              <a:miter/>
            </a:ln>
          </p:spPr>
          <p:txBody>
            <a:bodyPr rtlCol="0" anchor="ctr"/>
            <a:lstStyle/>
            <a:p>
              <a:endParaRPr lang="en-US" sz="1568"/>
            </a:p>
          </p:txBody>
        </p:sp>
        <p:sp>
          <p:nvSpPr>
            <p:cNvPr id="12" name="Freeform: Shape 11">
              <a:extLst>
                <a:ext uri="{FF2B5EF4-FFF2-40B4-BE49-F238E27FC236}">
                  <a16:creationId xmlns:a16="http://schemas.microsoft.com/office/drawing/2014/main" id="{F77DFA2D-EBC3-4CB9-95E9-BEB91D2BEE2A}"/>
                </a:ext>
              </a:extLst>
            </p:cNvPr>
            <p:cNvSpPr/>
            <p:nvPr/>
          </p:nvSpPr>
          <p:spPr>
            <a:xfrm>
              <a:off x="6303563" y="5335322"/>
              <a:ext cx="90922" cy="68806"/>
            </a:xfrm>
            <a:custGeom>
              <a:avLst/>
              <a:gdLst>
                <a:gd name="connsiteX0" fmla="*/ 61493 w 90922"/>
                <a:gd name="connsiteY0" fmla="*/ 66408 h 68806"/>
                <a:gd name="connsiteX1" fmla="*/ 11363 w 90922"/>
                <a:gd name="connsiteY1" fmla="*/ 37411 h 68806"/>
                <a:gd name="connsiteX2" fmla="*/ 4482 w 90922"/>
                <a:gd name="connsiteY2" fmla="*/ 11363 h 68806"/>
                <a:gd name="connsiteX3" fmla="*/ 30531 w 90922"/>
                <a:gd name="connsiteY3" fmla="*/ 4482 h 68806"/>
                <a:gd name="connsiteX4" fmla="*/ 80661 w 90922"/>
                <a:gd name="connsiteY4" fmla="*/ 33479 h 68806"/>
                <a:gd name="connsiteX5" fmla="*/ 87541 w 90922"/>
                <a:gd name="connsiteY5" fmla="*/ 59527 h 68806"/>
                <a:gd name="connsiteX6" fmla="*/ 61493 w 90922"/>
                <a:gd name="connsiteY6" fmla="*/ 66408 h 68806"/>
                <a:gd name="connsiteX7" fmla="*/ 61493 w 90922"/>
                <a:gd name="connsiteY7" fmla="*/ 66408 h 68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922" h="68806">
                  <a:moveTo>
                    <a:pt x="61493" y="66408"/>
                  </a:moveTo>
                  <a:lnTo>
                    <a:pt x="11363" y="37411"/>
                  </a:lnTo>
                  <a:cubicBezTo>
                    <a:pt x="2271" y="32251"/>
                    <a:pt x="-924" y="20455"/>
                    <a:pt x="4482" y="11363"/>
                  </a:cubicBezTo>
                  <a:cubicBezTo>
                    <a:pt x="9643" y="2271"/>
                    <a:pt x="21438" y="-924"/>
                    <a:pt x="30531" y="4482"/>
                  </a:cubicBezTo>
                  <a:lnTo>
                    <a:pt x="80661" y="33479"/>
                  </a:lnTo>
                  <a:cubicBezTo>
                    <a:pt x="89753" y="38640"/>
                    <a:pt x="92948" y="50435"/>
                    <a:pt x="87541" y="59527"/>
                  </a:cubicBezTo>
                  <a:cubicBezTo>
                    <a:pt x="82135" y="68620"/>
                    <a:pt x="70586" y="71814"/>
                    <a:pt x="61493" y="66408"/>
                  </a:cubicBezTo>
                  <a:lnTo>
                    <a:pt x="61493" y="66408"/>
                  </a:lnTo>
                  <a:close/>
                </a:path>
              </a:pathLst>
            </a:custGeom>
            <a:solidFill>
              <a:srgbClr val="CCD2DB"/>
            </a:solidFill>
            <a:ln w="9525" cap="flat">
              <a:noFill/>
              <a:prstDash val="solid"/>
              <a:miter/>
            </a:ln>
          </p:spPr>
          <p:txBody>
            <a:bodyPr rtlCol="0" anchor="ctr"/>
            <a:lstStyle/>
            <a:p>
              <a:endParaRPr lang="en-US" sz="1568"/>
            </a:p>
          </p:txBody>
        </p:sp>
        <p:sp>
          <p:nvSpPr>
            <p:cNvPr id="13" name="Freeform: Shape 12">
              <a:extLst>
                <a:ext uri="{FF2B5EF4-FFF2-40B4-BE49-F238E27FC236}">
                  <a16:creationId xmlns:a16="http://schemas.microsoft.com/office/drawing/2014/main" id="{E6263FA2-704C-49C6-9E1A-D06E1B61E1E1}"/>
                </a:ext>
              </a:extLst>
            </p:cNvPr>
            <p:cNvSpPr/>
            <p:nvPr/>
          </p:nvSpPr>
          <p:spPr>
            <a:xfrm>
              <a:off x="5844391" y="5335431"/>
              <a:ext cx="90922" cy="68806"/>
            </a:xfrm>
            <a:custGeom>
              <a:avLst/>
              <a:gdLst>
                <a:gd name="connsiteX0" fmla="*/ 4373 w 90922"/>
                <a:gd name="connsiteY0" fmla="*/ 59418 h 68806"/>
                <a:gd name="connsiteX1" fmla="*/ 11254 w 90922"/>
                <a:gd name="connsiteY1" fmla="*/ 33370 h 68806"/>
                <a:gd name="connsiteX2" fmla="*/ 61384 w 90922"/>
                <a:gd name="connsiteY2" fmla="*/ 4373 h 68806"/>
                <a:gd name="connsiteX3" fmla="*/ 87432 w 90922"/>
                <a:gd name="connsiteY3" fmla="*/ 11254 h 68806"/>
                <a:gd name="connsiteX4" fmla="*/ 80552 w 90922"/>
                <a:gd name="connsiteY4" fmla="*/ 37302 h 68806"/>
                <a:gd name="connsiteX5" fmla="*/ 30421 w 90922"/>
                <a:gd name="connsiteY5" fmla="*/ 66299 h 68806"/>
                <a:gd name="connsiteX6" fmla="*/ 4373 w 90922"/>
                <a:gd name="connsiteY6" fmla="*/ 59418 h 68806"/>
                <a:gd name="connsiteX7" fmla="*/ 4373 w 90922"/>
                <a:gd name="connsiteY7" fmla="*/ 59418 h 68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922" h="68806">
                  <a:moveTo>
                    <a:pt x="4373" y="59418"/>
                  </a:moveTo>
                  <a:cubicBezTo>
                    <a:pt x="-787" y="50326"/>
                    <a:pt x="2162" y="38776"/>
                    <a:pt x="11254" y="33370"/>
                  </a:cubicBezTo>
                  <a:lnTo>
                    <a:pt x="61384" y="4373"/>
                  </a:lnTo>
                  <a:cubicBezTo>
                    <a:pt x="70476" y="-787"/>
                    <a:pt x="82026" y="2162"/>
                    <a:pt x="87432" y="11254"/>
                  </a:cubicBezTo>
                  <a:cubicBezTo>
                    <a:pt x="92593" y="20346"/>
                    <a:pt x="89644" y="31896"/>
                    <a:pt x="80552" y="37302"/>
                  </a:cubicBezTo>
                  <a:lnTo>
                    <a:pt x="30421" y="66299"/>
                  </a:lnTo>
                  <a:cubicBezTo>
                    <a:pt x="21329" y="71705"/>
                    <a:pt x="9534" y="68510"/>
                    <a:pt x="4373" y="59418"/>
                  </a:cubicBezTo>
                  <a:lnTo>
                    <a:pt x="4373" y="59418"/>
                  </a:lnTo>
                  <a:close/>
                </a:path>
              </a:pathLst>
            </a:custGeom>
            <a:solidFill>
              <a:srgbClr val="CCD2DB"/>
            </a:solidFill>
            <a:ln w="9525" cap="flat">
              <a:noFill/>
              <a:prstDash val="solid"/>
              <a:miter/>
            </a:ln>
          </p:spPr>
          <p:txBody>
            <a:bodyPr rtlCol="0" anchor="ctr"/>
            <a:lstStyle/>
            <a:p>
              <a:endParaRPr lang="en-US" sz="1568"/>
            </a:p>
          </p:txBody>
        </p:sp>
        <p:sp>
          <p:nvSpPr>
            <p:cNvPr id="14" name="Freeform: Shape 13">
              <a:extLst>
                <a:ext uri="{FF2B5EF4-FFF2-40B4-BE49-F238E27FC236}">
                  <a16:creationId xmlns:a16="http://schemas.microsoft.com/office/drawing/2014/main" id="{DE0B1E20-4E6C-46D1-9B9C-BDA5AD2E38A6}"/>
                </a:ext>
              </a:extLst>
            </p:cNvPr>
            <p:cNvSpPr/>
            <p:nvPr/>
          </p:nvSpPr>
          <p:spPr>
            <a:xfrm>
              <a:off x="6303672" y="5070281"/>
              <a:ext cx="90922" cy="68806"/>
            </a:xfrm>
            <a:custGeom>
              <a:avLst/>
              <a:gdLst>
                <a:gd name="connsiteX0" fmla="*/ 4373 w 90922"/>
                <a:gd name="connsiteY0" fmla="*/ 59418 h 68806"/>
                <a:gd name="connsiteX1" fmla="*/ 11254 w 90922"/>
                <a:gd name="connsiteY1" fmla="*/ 33370 h 68806"/>
                <a:gd name="connsiteX2" fmla="*/ 61384 w 90922"/>
                <a:gd name="connsiteY2" fmla="*/ 4373 h 68806"/>
                <a:gd name="connsiteX3" fmla="*/ 87432 w 90922"/>
                <a:gd name="connsiteY3" fmla="*/ 11254 h 68806"/>
                <a:gd name="connsiteX4" fmla="*/ 80552 w 90922"/>
                <a:gd name="connsiteY4" fmla="*/ 37302 h 68806"/>
                <a:gd name="connsiteX5" fmla="*/ 30421 w 90922"/>
                <a:gd name="connsiteY5" fmla="*/ 66299 h 68806"/>
                <a:gd name="connsiteX6" fmla="*/ 4373 w 90922"/>
                <a:gd name="connsiteY6" fmla="*/ 59418 h 68806"/>
                <a:gd name="connsiteX7" fmla="*/ 4373 w 90922"/>
                <a:gd name="connsiteY7" fmla="*/ 59418 h 68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922" h="68806">
                  <a:moveTo>
                    <a:pt x="4373" y="59418"/>
                  </a:moveTo>
                  <a:cubicBezTo>
                    <a:pt x="-787" y="50326"/>
                    <a:pt x="2162" y="38776"/>
                    <a:pt x="11254" y="33370"/>
                  </a:cubicBezTo>
                  <a:lnTo>
                    <a:pt x="61384" y="4373"/>
                  </a:lnTo>
                  <a:cubicBezTo>
                    <a:pt x="70476" y="-787"/>
                    <a:pt x="82026" y="2162"/>
                    <a:pt x="87432" y="11254"/>
                  </a:cubicBezTo>
                  <a:cubicBezTo>
                    <a:pt x="92593" y="20346"/>
                    <a:pt x="89644" y="31896"/>
                    <a:pt x="80552" y="37302"/>
                  </a:cubicBezTo>
                  <a:lnTo>
                    <a:pt x="30421" y="66299"/>
                  </a:lnTo>
                  <a:cubicBezTo>
                    <a:pt x="21329" y="71705"/>
                    <a:pt x="9534" y="68510"/>
                    <a:pt x="4373" y="59418"/>
                  </a:cubicBezTo>
                  <a:lnTo>
                    <a:pt x="4373" y="59418"/>
                  </a:lnTo>
                  <a:close/>
                </a:path>
              </a:pathLst>
            </a:custGeom>
            <a:solidFill>
              <a:srgbClr val="CCD2DB"/>
            </a:solidFill>
            <a:ln w="9525" cap="flat">
              <a:noFill/>
              <a:prstDash val="solid"/>
              <a:miter/>
            </a:ln>
          </p:spPr>
          <p:txBody>
            <a:bodyPr rtlCol="0" anchor="ctr"/>
            <a:lstStyle/>
            <a:p>
              <a:endParaRPr lang="en-US" sz="1568"/>
            </a:p>
          </p:txBody>
        </p:sp>
        <p:sp>
          <p:nvSpPr>
            <p:cNvPr id="15" name="Freeform: Shape 14">
              <a:extLst>
                <a:ext uri="{FF2B5EF4-FFF2-40B4-BE49-F238E27FC236}">
                  <a16:creationId xmlns:a16="http://schemas.microsoft.com/office/drawing/2014/main" id="{7CCDB35F-E407-4CCA-BCA5-F281661F7677}"/>
                </a:ext>
              </a:extLst>
            </p:cNvPr>
            <p:cNvSpPr/>
            <p:nvPr/>
          </p:nvSpPr>
          <p:spPr>
            <a:xfrm>
              <a:off x="5882062" y="5000319"/>
              <a:ext cx="474271" cy="474271"/>
            </a:xfrm>
            <a:custGeom>
              <a:avLst/>
              <a:gdLst>
                <a:gd name="connsiteX0" fmla="*/ 474148 w 474271"/>
                <a:gd name="connsiteY0" fmla="*/ 237996 h 474271"/>
                <a:gd name="connsiteX1" fmla="*/ 237996 w 474271"/>
                <a:gd name="connsiteY1" fmla="*/ 474148 h 474271"/>
                <a:gd name="connsiteX2" fmla="*/ 1843 w 474271"/>
                <a:gd name="connsiteY2" fmla="*/ 237996 h 474271"/>
                <a:gd name="connsiteX3" fmla="*/ 237996 w 474271"/>
                <a:gd name="connsiteY3" fmla="*/ 1843 h 474271"/>
                <a:gd name="connsiteX4" fmla="*/ 474148 w 474271"/>
                <a:gd name="connsiteY4" fmla="*/ 237996 h 474271"/>
                <a:gd name="connsiteX5" fmla="*/ 474148 w 474271"/>
                <a:gd name="connsiteY5" fmla="*/ 237996 h 474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271" h="474271">
                  <a:moveTo>
                    <a:pt x="474148" y="237996"/>
                  </a:moveTo>
                  <a:cubicBezTo>
                    <a:pt x="474148" y="368482"/>
                    <a:pt x="368482" y="474148"/>
                    <a:pt x="237996" y="474148"/>
                  </a:cubicBezTo>
                  <a:cubicBezTo>
                    <a:pt x="107510" y="474148"/>
                    <a:pt x="1843" y="368482"/>
                    <a:pt x="1843" y="237996"/>
                  </a:cubicBezTo>
                  <a:cubicBezTo>
                    <a:pt x="1843" y="107510"/>
                    <a:pt x="107510" y="1843"/>
                    <a:pt x="237996" y="1843"/>
                  </a:cubicBezTo>
                  <a:cubicBezTo>
                    <a:pt x="368236" y="1843"/>
                    <a:pt x="474148" y="107510"/>
                    <a:pt x="474148" y="237996"/>
                  </a:cubicBezTo>
                  <a:lnTo>
                    <a:pt x="474148" y="237996"/>
                  </a:lnTo>
                  <a:close/>
                </a:path>
              </a:pathLst>
            </a:custGeom>
            <a:solidFill>
              <a:srgbClr val="54A0FF"/>
            </a:solidFill>
            <a:ln w="9525" cap="flat">
              <a:noFill/>
              <a:prstDash val="solid"/>
              <a:miter/>
            </a:ln>
          </p:spPr>
          <p:txBody>
            <a:bodyPr rtlCol="0" anchor="ctr"/>
            <a:lstStyle/>
            <a:p>
              <a:endParaRPr lang="en-US" sz="1568"/>
            </a:p>
          </p:txBody>
        </p:sp>
        <p:sp>
          <p:nvSpPr>
            <p:cNvPr id="16" name="Freeform: Shape 15">
              <a:extLst>
                <a:ext uri="{FF2B5EF4-FFF2-40B4-BE49-F238E27FC236}">
                  <a16:creationId xmlns:a16="http://schemas.microsoft.com/office/drawing/2014/main" id="{B54B3D96-0AE6-44B6-B469-3B02E9317E59}"/>
                </a:ext>
              </a:extLst>
            </p:cNvPr>
            <p:cNvSpPr/>
            <p:nvPr/>
          </p:nvSpPr>
          <p:spPr>
            <a:xfrm>
              <a:off x="5882062" y="5000319"/>
              <a:ext cx="277682" cy="474271"/>
            </a:xfrm>
            <a:custGeom>
              <a:avLst/>
              <a:gdLst>
                <a:gd name="connsiteX0" fmla="*/ 77776 w 277682"/>
                <a:gd name="connsiteY0" fmla="*/ 237996 h 474271"/>
                <a:gd name="connsiteX1" fmla="*/ 276085 w 277682"/>
                <a:gd name="connsiteY1" fmla="*/ 4792 h 474271"/>
                <a:gd name="connsiteX2" fmla="*/ 237996 w 277682"/>
                <a:gd name="connsiteY2" fmla="*/ 1843 h 474271"/>
                <a:gd name="connsiteX3" fmla="*/ 1843 w 277682"/>
                <a:gd name="connsiteY3" fmla="*/ 237996 h 474271"/>
                <a:gd name="connsiteX4" fmla="*/ 237996 w 277682"/>
                <a:gd name="connsiteY4" fmla="*/ 474148 h 474271"/>
                <a:gd name="connsiteX5" fmla="*/ 276085 w 277682"/>
                <a:gd name="connsiteY5" fmla="*/ 471199 h 474271"/>
                <a:gd name="connsiteX6" fmla="*/ 77776 w 277682"/>
                <a:gd name="connsiteY6" fmla="*/ 237996 h 474271"/>
                <a:gd name="connsiteX7" fmla="*/ 77776 w 277682"/>
                <a:gd name="connsiteY7" fmla="*/ 237996 h 474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682" h="474271">
                  <a:moveTo>
                    <a:pt x="77776" y="237996"/>
                  </a:moveTo>
                  <a:cubicBezTo>
                    <a:pt x="77776" y="120534"/>
                    <a:pt x="163538" y="22976"/>
                    <a:pt x="276085" y="4792"/>
                  </a:cubicBezTo>
                  <a:cubicBezTo>
                    <a:pt x="263798" y="2826"/>
                    <a:pt x="251020" y="1843"/>
                    <a:pt x="237996" y="1843"/>
                  </a:cubicBezTo>
                  <a:cubicBezTo>
                    <a:pt x="107510" y="1843"/>
                    <a:pt x="1843" y="107510"/>
                    <a:pt x="1843" y="237996"/>
                  </a:cubicBezTo>
                  <a:cubicBezTo>
                    <a:pt x="1843" y="368482"/>
                    <a:pt x="107510" y="474148"/>
                    <a:pt x="237996" y="474148"/>
                  </a:cubicBezTo>
                  <a:cubicBezTo>
                    <a:pt x="251020" y="474148"/>
                    <a:pt x="263552" y="473165"/>
                    <a:pt x="276085" y="471199"/>
                  </a:cubicBezTo>
                  <a:cubicBezTo>
                    <a:pt x="163538" y="453015"/>
                    <a:pt x="77776" y="355458"/>
                    <a:pt x="77776" y="237996"/>
                  </a:cubicBezTo>
                  <a:lnTo>
                    <a:pt x="77776" y="237996"/>
                  </a:lnTo>
                  <a:close/>
                </a:path>
              </a:pathLst>
            </a:custGeom>
            <a:solidFill>
              <a:srgbClr val="338DEF"/>
            </a:solidFill>
            <a:ln w="9525" cap="flat">
              <a:noFill/>
              <a:prstDash val="solid"/>
              <a:miter/>
            </a:ln>
          </p:spPr>
          <p:txBody>
            <a:bodyPr rtlCol="0" anchor="ctr"/>
            <a:lstStyle/>
            <a:p>
              <a:endParaRPr lang="en-US" sz="1568"/>
            </a:p>
          </p:txBody>
        </p:sp>
        <p:sp>
          <p:nvSpPr>
            <p:cNvPr id="17" name="Freeform: Shape 16">
              <a:extLst>
                <a:ext uri="{FF2B5EF4-FFF2-40B4-BE49-F238E27FC236}">
                  <a16:creationId xmlns:a16="http://schemas.microsoft.com/office/drawing/2014/main" id="{4BEA907F-25AF-4ECA-B1D8-C264B71AC0EE}"/>
                </a:ext>
              </a:extLst>
            </p:cNvPr>
            <p:cNvSpPr/>
            <p:nvPr/>
          </p:nvSpPr>
          <p:spPr>
            <a:xfrm>
              <a:off x="6047688" y="5066422"/>
              <a:ext cx="142527" cy="142527"/>
            </a:xfrm>
            <a:custGeom>
              <a:avLst/>
              <a:gdLst>
                <a:gd name="connsiteX0" fmla="*/ 142404 w 142527"/>
                <a:gd name="connsiteY0" fmla="*/ 72124 h 142527"/>
                <a:gd name="connsiteX1" fmla="*/ 72124 w 142527"/>
                <a:gd name="connsiteY1" fmla="*/ 142404 h 142527"/>
                <a:gd name="connsiteX2" fmla="*/ 1843 w 142527"/>
                <a:gd name="connsiteY2" fmla="*/ 72124 h 142527"/>
                <a:gd name="connsiteX3" fmla="*/ 72124 w 142527"/>
                <a:gd name="connsiteY3" fmla="*/ 1843 h 142527"/>
                <a:gd name="connsiteX4" fmla="*/ 142404 w 142527"/>
                <a:gd name="connsiteY4" fmla="*/ 72124 h 142527"/>
                <a:gd name="connsiteX5" fmla="*/ 142404 w 142527"/>
                <a:gd name="connsiteY5"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527" h="142527">
                  <a:moveTo>
                    <a:pt x="142404" y="72124"/>
                  </a:moveTo>
                  <a:cubicBezTo>
                    <a:pt x="142404" y="110950"/>
                    <a:pt x="110950" y="142404"/>
                    <a:pt x="72124" y="142404"/>
                  </a:cubicBezTo>
                  <a:cubicBezTo>
                    <a:pt x="33297" y="142404"/>
                    <a:pt x="1843" y="110950"/>
                    <a:pt x="1843" y="72124"/>
                  </a:cubicBezTo>
                  <a:cubicBezTo>
                    <a:pt x="1843" y="33297"/>
                    <a:pt x="33297" y="1843"/>
                    <a:pt x="72124" y="1843"/>
                  </a:cubicBezTo>
                  <a:cubicBezTo>
                    <a:pt x="110950" y="2089"/>
                    <a:pt x="142404" y="33543"/>
                    <a:pt x="142404" y="72124"/>
                  </a:cubicBezTo>
                  <a:lnTo>
                    <a:pt x="142404" y="72124"/>
                  </a:lnTo>
                  <a:close/>
                </a:path>
              </a:pathLst>
            </a:custGeom>
            <a:solidFill>
              <a:srgbClr val="FFCDBF"/>
            </a:solidFill>
            <a:ln w="9525" cap="flat">
              <a:noFill/>
              <a:prstDash val="solid"/>
              <a:miter/>
            </a:ln>
          </p:spPr>
          <p:txBody>
            <a:bodyPr rtlCol="0" anchor="ctr"/>
            <a:lstStyle/>
            <a:p>
              <a:endParaRPr lang="en-US" sz="1568"/>
            </a:p>
          </p:txBody>
        </p:sp>
        <p:sp>
          <p:nvSpPr>
            <p:cNvPr id="18" name="Freeform: Shape 17">
              <a:extLst>
                <a:ext uri="{FF2B5EF4-FFF2-40B4-BE49-F238E27FC236}">
                  <a16:creationId xmlns:a16="http://schemas.microsoft.com/office/drawing/2014/main" id="{3F33B8CC-0744-40CE-9013-7168BC6E8C13}"/>
                </a:ext>
              </a:extLst>
            </p:cNvPr>
            <p:cNvSpPr/>
            <p:nvPr/>
          </p:nvSpPr>
          <p:spPr>
            <a:xfrm>
              <a:off x="6003210" y="5206984"/>
              <a:ext cx="230992" cy="176930"/>
            </a:xfrm>
            <a:custGeom>
              <a:avLst/>
              <a:gdLst>
                <a:gd name="connsiteX0" fmla="*/ 156411 w 230992"/>
                <a:gd name="connsiteY0" fmla="*/ 1843 h 176930"/>
                <a:gd name="connsiteX1" fmla="*/ 77038 w 230992"/>
                <a:gd name="connsiteY1" fmla="*/ 1843 h 176930"/>
                <a:gd name="connsiteX2" fmla="*/ 1843 w 230992"/>
                <a:gd name="connsiteY2" fmla="*/ 77038 h 176930"/>
                <a:gd name="connsiteX3" fmla="*/ 1843 w 230992"/>
                <a:gd name="connsiteY3" fmla="*/ 164029 h 176930"/>
                <a:gd name="connsiteX4" fmla="*/ 14621 w 230992"/>
                <a:gd name="connsiteY4" fmla="*/ 176807 h 176930"/>
                <a:gd name="connsiteX5" fmla="*/ 218828 w 230992"/>
                <a:gd name="connsiteY5" fmla="*/ 176807 h 176930"/>
                <a:gd name="connsiteX6" fmla="*/ 231606 w 230992"/>
                <a:gd name="connsiteY6" fmla="*/ 164029 h 176930"/>
                <a:gd name="connsiteX7" fmla="*/ 231606 w 230992"/>
                <a:gd name="connsiteY7" fmla="*/ 77038 h 176930"/>
                <a:gd name="connsiteX8" fmla="*/ 156411 w 230992"/>
                <a:gd name="connsiteY8" fmla="*/ 1843 h 176930"/>
                <a:gd name="connsiteX9" fmla="*/ 156411 w 230992"/>
                <a:gd name="connsiteY9" fmla="*/ 1843 h 176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0992" h="176930">
                  <a:moveTo>
                    <a:pt x="156411" y="1843"/>
                  </a:moveTo>
                  <a:lnTo>
                    <a:pt x="77038" y="1843"/>
                  </a:lnTo>
                  <a:cubicBezTo>
                    <a:pt x="35755" y="1843"/>
                    <a:pt x="1843" y="35755"/>
                    <a:pt x="1843" y="77038"/>
                  </a:cubicBezTo>
                  <a:lnTo>
                    <a:pt x="1843" y="164029"/>
                  </a:lnTo>
                  <a:cubicBezTo>
                    <a:pt x="1843" y="171155"/>
                    <a:pt x="7495" y="176807"/>
                    <a:pt x="14621" y="176807"/>
                  </a:cubicBezTo>
                  <a:lnTo>
                    <a:pt x="218828" y="176807"/>
                  </a:lnTo>
                  <a:cubicBezTo>
                    <a:pt x="225955" y="176807"/>
                    <a:pt x="231606" y="171155"/>
                    <a:pt x="231606" y="164029"/>
                  </a:cubicBezTo>
                  <a:lnTo>
                    <a:pt x="231606" y="77038"/>
                  </a:lnTo>
                  <a:cubicBezTo>
                    <a:pt x="231606" y="35509"/>
                    <a:pt x="197695" y="1843"/>
                    <a:pt x="156411" y="1843"/>
                  </a:cubicBezTo>
                  <a:lnTo>
                    <a:pt x="156411" y="1843"/>
                  </a:lnTo>
                  <a:close/>
                </a:path>
              </a:pathLst>
            </a:custGeom>
            <a:solidFill>
              <a:srgbClr val="FECA57"/>
            </a:solidFill>
            <a:ln w="9525" cap="flat">
              <a:noFill/>
              <a:prstDash val="solid"/>
              <a:miter/>
            </a:ln>
          </p:spPr>
          <p:txBody>
            <a:bodyPr rtlCol="0" anchor="ctr"/>
            <a:lstStyle/>
            <a:p>
              <a:endParaRPr lang="en-US" sz="1568"/>
            </a:p>
          </p:txBody>
        </p:sp>
        <p:sp>
          <p:nvSpPr>
            <p:cNvPr id="19" name="Freeform: Shape 18">
              <a:extLst>
                <a:ext uri="{FF2B5EF4-FFF2-40B4-BE49-F238E27FC236}">
                  <a16:creationId xmlns:a16="http://schemas.microsoft.com/office/drawing/2014/main" id="{1ABF90C4-4D26-4C66-AB09-8B823DEC7CB1}"/>
                </a:ext>
              </a:extLst>
            </p:cNvPr>
            <p:cNvSpPr/>
            <p:nvPr/>
          </p:nvSpPr>
          <p:spPr>
            <a:xfrm>
              <a:off x="6003210" y="5206984"/>
              <a:ext cx="127783" cy="176930"/>
            </a:xfrm>
            <a:custGeom>
              <a:avLst/>
              <a:gdLst>
                <a:gd name="connsiteX0" fmla="*/ 52465 w 127782"/>
                <a:gd name="connsiteY0" fmla="*/ 164029 h 176930"/>
                <a:gd name="connsiteX1" fmla="*/ 52465 w 127782"/>
                <a:gd name="connsiteY1" fmla="*/ 77038 h 176930"/>
                <a:gd name="connsiteX2" fmla="*/ 127660 w 127782"/>
                <a:gd name="connsiteY2" fmla="*/ 1843 h 176930"/>
                <a:gd name="connsiteX3" fmla="*/ 77038 w 127782"/>
                <a:gd name="connsiteY3" fmla="*/ 1843 h 176930"/>
                <a:gd name="connsiteX4" fmla="*/ 1843 w 127782"/>
                <a:gd name="connsiteY4" fmla="*/ 77038 h 176930"/>
                <a:gd name="connsiteX5" fmla="*/ 1843 w 127782"/>
                <a:gd name="connsiteY5" fmla="*/ 164029 h 176930"/>
                <a:gd name="connsiteX6" fmla="*/ 14621 w 127782"/>
                <a:gd name="connsiteY6" fmla="*/ 176807 h 176930"/>
                <a:gd name="connsiteX7" fmla="*/ 65243 w 127782"/>
                <a:gd name="connsiteY7" fmla="*/ 176807 h 176930"/>
                <a:gd name="connsiteX8" fmla="*/ 52465 w 127782"/>
                <a:gd name="connsiteY8" fmla="*/ 164029 h 176930"/>
                <a:gd name="connsiteX9" fmla="*/ 52465 w 127782"/>
                <a:gd name="connsiteY9" fmla="*/ 164029 h 176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82" h="176930">
                  <a:moveTo>
                    <a:pt x="52465" y="164029"/>
                  </a:moveTo>
                  <a:lnTo>
                    <a:pt x="52465" y="77038"/>
                  </a:lnTo>
                  <a:cubicBezTo>
                    <a:pt x="52465" y="35755"/>
                    <a:pt x="86376" y="1843"/>
                    <a:pt x="127660" y="1843"/>
                  </a:cubicBezTo>
                  <a:lnTo>
                    <a:pt x="77038" y="1843"/>
                  </a:lnTo>
                  <a:cubicBezTo>
                    <a:pt x="35755" y="1843"/>
                    <a:pt x="1843" y="35755"/>
                    <a:pt x="1843" y="77038"/>
                  </a:cubicBezTo>
                  <a:lnTo>
                    <a:pt x="1843" y="164029"/>
                  </a:lnTo>
                  <a:cubicBezTo>
                    <a:pt x="1843" y="171155"/>
                    <a:pt x="7495" y="176807"/>
                    <a:pt x="14621" y="176807"/>
                  </a:cubicBezTo>
                  <a:lnTo>
                    <a:pt x="65243" y="176807"/>
                  </a:lnTo>
                  <a:cubicBezTo>
                    <a:pt x="58117" y="176807"/>
                    <a:pt x="52465" y="171155"/>
                    <a:pt x="52465" y="164029"/>
                  </a:cubicBezTo>
                  <a:lnTo>
                    <a:pt x="52465" y="164029"/>
                  </a:lnTo>
                  <a:close/>
                </a:path>
              </a:pathLst>
            </a:custGeom>
            <a:solidFill>
              <a:srgbClr val="F4B537"/>
            </a:solidFill>
            <a:ln w="9525" cap="flat">
              <a:noFill/>
              <a:prstDash val="solid"/>
              <a:miter/>
            </a:ln>
          </p:spPr>
          <p:txBody>
            <a:bodyPr rtlCol="0" anchor="ctr"/>
            <a:lstStyle/>
            <a:p>
              <a:endParaRPr lang="en-US" sz="1568"/>
            </a:p>
          </p:txBody>
        </p:sp>
        <p:sp>
          <p:nvSpPr>
            <p:cNvPr id="20" name="Freeform: Shape 19">
              <a:extLst>
                <a:ext uri="{FF2B5EF4-FFF2-40B4-BE49-F238E27FC236}">
                  <a16:creationId xmlns:a16="http://schemas.microsoft.com/office/drawing/2014/main" id="{C6150B04-A5AC-4B73-86B2-E1901BAA1D21}"/>
                </a:ext>
              </a:extLst>
            </p:cNvPr>
            <p:cNvSpPr/>
            <p:nvPr/>
          </p:nvSpPr>
          <p:spPr>
            <a:xfrm>
              <a:off x="6042036" y="5260554"/>
              <a:ext cx="39318" cy="122868"/>
            </a:xfrm>
            <a:custGeom>
              <a:avLst/>
              <a:gdLst>
                <a:gd name="connsiteX0" fmla="*/ 39686 w 39317"/>
                <a:gd name="connsiteY0" fmla="*/ 123237 h 122868"/>
                <a:gd name="connsiteX1" fmla="*/ 39686 w 39317"/>
                <a:gd name="connsiteY1" fmla="*/ 20765 h 122868"/>
                <a:gd name="connsiteX2" fmla="*/ 20765 w 39317"/>
                <a:gd name="connsiteY2" fmla="*/ 1843 h 122868"/>
                <a:gd name="connsiteX3" fmla="*/ 1843 w 39317"/>
                <a:gd name="connsiteY3" fmla="*/ 20765 h 122868"/>
                <a:gd name="connsiteX4" fmla="*/ 1843 w 39317"/>
                <a:gd name="connsiteY4" fmla="*/ 123237 h 122868"/>
                <a:gd name="connsiteX5" fmla="*/ 39686 w 39317"/>
                <a:gd name="connsiteY5" fmla="*/ 123237 h 12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17" h="122868">
                  <a:moveTo>
                    <a:pt x="39686" y="123237"/>
                  </a:moveTo>
                  <a:lnTo>
                    <a:pt x="39686" y="20765"/>
                  </a:lnTo>
                  <a:cubicBezTo>
                    <a:pt x="39686" y="10198"/>
                    <a:pt x="31086" y="1843"/>
                    <a:pt x="20765" y="1843"/>
                  </a:cubicBezTo>
                  <a:cubicBezTo>
                    <a:pt x="10198" y="1843"/>
                    <a:pt x="1843" y="10444"/>
                    <a:pt x="1843" y="20765"/>
                  </a:cubicBezTo>
                  <a:lnTo>
                    <a:pt x="1843" y="123237"/>
                  </a:lnTo>
                  <a:lnTo>
                    <a:pt x="39686" y="123237"/>
                  </a:lnTo>
                  <a:close/>
                </a:path>
              </a:pathLst>
            </a:custGeom>
            <a:solidFill>
              <a:srgbClr val="F4B537"/>
            </a:solidFill>
            <a:ln w="9525" cap="flat">
              <a:noFill/>
              <a:prstDash val="solid"/>
              <a:miter/>
            </a:ln>
          </p:spPr>
          <p:txBody>
            <a:bodyPr rtlCol="0" anchor="ctr"/>
            <a:lstStyle/>
            <a:p>
              <a:endParaRPr lang="en-US" sz="1568"/>
            </a:p>
          </p:txBody>
        </p:sp>
        <p:sp>
          <p:nvSpPr>
            <p:cNvPr id="21" name="Freeform: Shape 20">
              <a:extLst>
                <a:ext uri="{FF2B5EF4-FFF2-40B4-BE49-F238E27FC236}">
                  <a16:creationId xmlns:a16="http://schemas.microsoft.com/office/drawing/2014/main" id="{C6DB53A0-3277-43EB-B6E5-573C2F5D373E}"/>
                </a:ext>
              </a:extLst>
            </p:cNvPr>
            <p:cNvSpPr/>
            <p:nvPr/>
          </p:nvSpPr>
          <p:spPr>
            <a:xfrm>
              <a:off x="6156303" y="5260554"/>
              <a:ext cx="39318" cy="122868"/>
            </a:xfrm>
            <a:custGeom>
              <a:avLst/>
              <a:gdLst>
                <a:gd name="connsiteX0" fmla="*/ 39686 w 39317"/>
                <a:gd name="connsiteY0" fmla="*/ 20765 h 122868"/>
                <a:gd name="connsiteX1" fmla="*/ 20765 w 39317"/>
                <a:gd name="connsiteY1" fmla="*/ 1843 h 122868"/>
                <a:gd name="connsiteX2" fmla="*/ 1843 w 39317"/>
                <a:gd name="connsiteY2" fmla="*/ 20765 h 122868"/>
                <a:gd name="connsiteX3" fmla="*/ 1843 w 39317"/>
                <a:gd name="connsiteY3" fmla="*/ 123237 h 122868"/>
                <a:gd name="connsiteX4" fmla="*/ 39686 w 39317"/>
                <a:gd name="connsiteY4" fmla="*/ 123237 h 122868"/>
                <a:gd name="connsiteX5" fmla="*/ 39686 w 39317"/>
                <a:gd name="connsiteY5" fmla="*/ 20765 h 12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17" h="122868">
                  <a:moveTo>
                    <a:pt x="39686" y="20765"/>
                  </a:moveTo>
                  <a:cubicBezTo>
                    <a:pt x="39686" y="10198"/>
                    <a:pt x="31086" y="1843"/>
                    <a:pt x="20765" y="1843"/>
                  </a:cubicBezTo>
                  <a:cubicBezTo>
                    <a:pt x="10198" y="1843"/>
                    <a:pt x="1843" y="10444"/>
                    <a:pt x="1843" y="20765"/>
                  </a:cubicBezTo>
                  <a:lnTo>
                    <a:pt x="1843" y="123237"/>
                  </a:lnTo>
                  <a:lnTo>
                    <a:pt x="39686" y="123237"/>
                  </a:lnTo>
                  <a:lnTo>
                    <a:pt x="39686" y="20765"/>
                  </a:lnTo>
                  <a:close/>
                </a:path>
              </a:pathLst>
            </a:custGeom>
            <a:solidFill>
              <a:srgbClr val="F4B537"/>
            </a:solidFill>
            <a:ln w="9525" cap="flat">
              <a:noFill/>
              <a:prstDash val="solid"/>
              <a:miter/>
            </a:ln>
          </p:spPr>
          <p:txBody>
            <a:bodyPr rtlCol="0" anchor="ctr"/>
            <a:lstStyle/>
            <a:p>
              <a:endParaRPr lang="en-US" sz="1568"/>
            </a:p>
          </p:txBody>
        </p:sp>
        <p:sp>
          <p:nvSpPr>
            <p:cNvPr id="22" name="Freeform: Shape 21">
              <a:extLst>
                <a:ext uri="{FF2B5EF4-FFF2-40B4-BE49-F238E27FC236}">
                  <a16:creationId xmlns:a16="http://schemas.microsoft.com/office/drawing/2014/main" id="{B8D15FD4-3050-424D-AF7F-6E289BC14C12}"/>
                </a:ext>
              </a:extLst>
            </p:cNvPr>
            <p:cNvSpPr/>
            <p:nvPr/>
          </p:nvSpPr>
          <p:spPr>
            <a:xfrm>
              <a:off x="6471092" y="5300609"/>
              <a:ext cx="142527" cy="142527"/>
            </a:xfrm>
            <a:custGeom>
              <a:avLst/>
              <a:gdLst>
                <a:gd name="connsiteX0" fmla="*/ 142404 w 142527"/>
                <a:gd name="connsiteY0" fmla="*/ 72124 h 142527"/>
                <a:gd name="connsiteX1" fmla="*/ 72124 w 142527"/>
                <a:gd name="connsiteY1" fmla="*/ 142158 h 142527"/>
                <a:gd name="connsiteX2" fmla="*/ 1843 w 142527"/>
                <a:gd name="connsiteY2" fmla="*/ 72124 h 142527"/>
                <a:gd name="connsiteX3" fmla="*/ 72124 w 142527"/>
                <a:gd name="connsiteY3" fmla="*/ 1843 h 142527"/>
                <a:gd name="connsiteX4" fmla="*/ 142404 w 142527"/>
                <a:gd name="connsiteY4" fmla="*/ 72124 h 142527"/>
                <a:gd name="connsiteX5" fmla="*/ 142404 w 142527"/>
                <a:gd name="connsiteY5"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527" h="142527">
                  <a:moveTo>
                    <a:pt x="142404" y="72124"/>
                  </a:moveTo>
                  <a:cubicBezTo>
                    <a:pt x="142404" y="110950"/>
                    <a:pt x="110950" y="142158"/>
                    <a:pt x="72124" y="142158"/>
                  </a:cubicBezTo>
                  <a:cubicBezTo>
                    <a:pt x="33297" y="142158"/>
                    <a:pt x="1843" y="110704"/>
                    <a:pt x="1843" y="72124"/>
                  </a:cubicBezTo>
                  <a:cubicBezTo>
                    <a:pt x="1843" y="33297"/>
                    <a:pt x="33297" y="1843"/>
                    <a:pt x="72124" y="1843"/>
                  </a:cubicBezTo>
                  <a:cubicBezTo>
                    <a:pt x="110950" y="2089"/>
                    <a:pt x="142404" y="33543"/>
                    <a:pt x="142404" y="72124"/>
                  </a:cubicBezTo>
                  <a:lnTo>
                    <a:pt x="142404" y="72124"/>
                  </a:lnTo>
                  <a:close/>
                </a:path>
              </a:pathLst>
            </a:custGeom>
            <a:solidFill>
              <a:srgbClr val="FFCDBF"/>
            </a:solidFill>
            <a:ln w="9525" cap="flat">
              <a:noFill/>
              <a:prstDash val="solid"/>
              <a:miter/>
            </a:ln>
          </p:spPr>
          <p:txBody>
            <a:bodyPr rtlCol="0" anchor="ctr"/>
            <a:lstStyle/>
            <a:p>
              <a:endParaRPr lang="en-US" sz="1568"/>
            </a:p>
          </p:txBody>
        </p:sp>
        <p:sp>
          <p:nvSpPr>
            <p:cNvPr id="23" name="Freeform: Shape 22">
              <a:extLst>
                <a:ext uri="{FF2B5EF4-FFF2-40B4-BE49-F238E27FC236}">
                  <a16:creationId xmlns:a16="http://schemas.microsoft.com/office/drawing/2014/main" id="{81DCEEB4-7304-43D0-A9BD-53D5E50B4C4B}"/>
                </a:ext>
              </a:extLst>
            </p:cNvPr>
            <p:cNvSpPr/>
            <p:nvPr/>
          </p:nvSpPr>
          <p:spPr>
            <a:xfrm>
              <a:off x="6426613" y="5441170"/>
              <a:ext cx="233449" cy="149899"/>
            </a:xfrm>
            <a:custGeom>
              <a:avLst/>
              <a:gdLst>
                <a:gd name="connsiteX0" fmla="*/ 156411 w 233449"/>
                <a:gd name="connsiteY0" fmla="*/ 1843 h 149899"/>
                <a:gd name="connsiteX1" fmla="*/ 77038 w 233449"/>
                <a:gd name="connsiteY1" fmla="*/ 1843 h 149899"/>
                <a:gd name="connsiteX2" fmla="*/ 1843 w 233449"/>
                <a:gd name="connsiteY2" fmla="*/ 77038 h 149899"/>
                <a:gd name="connsiteX3" fmla="*/ 1843 w 233449"/>
                <a:gd name="connsiteY3" fmla="*/ 135769 h 149899"/>
                <a:gd name="connsiteX4" fmla="*/ 14621 w 233449"/>
                <a:gd name="connsiteY4" fmla="*/ 148548 h 149899"/>
                <a:gd name="connsiteX5" fmla="*/ 218828 w 233449"/>
                <a:gd name="connsiteY5" fmla="*/ 148548 h 149899"/>
                <a:gd name="connsiteX6" fmla="*/ 231606 w 233449"/>
                <a:gd name="connsiteY6" fmla="*/ 135769 h 149899"/>
                <a:gd name="connsiteX7" fmla="*/ 231606 w 233449"/>
                <a:gd name="connsiteY7" fmla="*/ 77038 h 149899"/>
                <a:gd name="connsiteX8" fmla="*/ 156411 w 233449"/>
                <a:gd name="connsiteY8" fmla="*/ 1843 h 149899"/>
                <a:gd name="connsiteX9" fmla="*/ 156411 w 233449"/>
                <a:gd name="connsiteY9" fmla="*/ 1843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3449" h="149899">
                  <a:moveTo>
                    <a:pt x="156411" y="1843"/>
                  </a:moveTo>
                  <a:lnTo>
                    <a:pt x="77038" y="1843"/>
                  </a:lnTo>
                  <a:cubicBezTo>
                    <a:pt x="35755" y="1843"/>
                    <a:pt x="1843" y="35755"/>
                    <a:pt x="1843" y="77038"/>
                  </a:cubicBezTo>
                  <a:lnTo>
                    <a:pt x="1843" y="135769"/>
                  </a:lnTo>
                  <a:cubicBezTo>
                    <a:pt x="1843" y="142896"/>
                    <a:pt x="7495" y="148548"/>
                    <a:pt x="14621" y="148548"/>
                  </a:cubicBezTo>
                  <a:lnTo>
                    <a:pt x="218828" y="148548"/>
                  </a:lnTo>
                  <a:cubicBezTo>
                    <a:pt x="225954" y="148548"/>
                    <a:pt x="231606" y="142896"/>
                    <a:pt x="231606" y="135769"/>
                  </a:cubicBezTo>
                  <a:lnTo>
                    <a:pt x="231606" y="77038"/>
                  </a:lnTo>
                  <a:cubicBezTo>
                    <a:pt x="231606" y="35509"/>
                    <a:pt x="197695" y="1843"/>
                    <a:pt x="156411" y="1843"/>
                  </a:cubicBezTo>
                  <a:lnTo>
                    <a:pt x="156411" y="1843"/>
                  </a:lnTo>
                  <a:close/>
                </a:path>
              </a:pathLst>
            </a:custGeom>
            <a:solidFill>
              <a:srgbClr val="FF6B6B"/>
            </a:solidFill>
            <a:ln w="9525" cap="flat">
              <a:noFill/>
              <a:prstDash val="solid"/>
              <a:miter/>
            </a:ln>
          </p:spPr>
          <p:txBody>
            <a:bodyPr rtlCol="0" anchor="ctr"/>
            <a:lstStyle/>
            <a:p>
              <a:endParaRPr lang="en-US" sz="1568"/>
            </a:p>
          </p:txBody>
        </p:sp>
        <p:sp>
          <p:nvSpPr>
            <p:cNvPr id="24" name="Freeform: Shape 23">
              <a:extLst>
                <a:ext uri="{FF2B5EF4-FFF2-40B4-BE49-F238E27FC236}">
                  <a16:creationId xmlns:a16="http://schemas.microsoft.com/office/drawing/2014/main" id="{C09310EA-DB0A-4648-A65E-08A2B7B5237D}"/>
                </a:ext>
              </a:extLst>
            </p:cNvPr>
            <p:cNvSpPr/>
            <p:nvPr/>
          </p:nvSpPr>
          <p:spPr>
            <a:xfrm>
              <a:off x="6426613" y="5441170"/>
              <a:ext cx="127783" cy="149899"/>
            </a:xfrm>
            <a:custGeom>
              <a:avLst/>
              <a:gdLst>
                <a:gd name="connsiteX0" fmla="*/ 52465 w 127782"/>
                <a:gd name="connsiteY0" fmla="*/ 135769 h 149899"/>
                <a:gd name="connsiteX1" fmla="*/ 52465 w 127782"/>
                <a:gd name="connsiteY1" fmla="*/ 77038 h 149899"/>
                <a:gd name="connsiteX2" fmla="*/ 127660 w 127782"/>
                <a:gd name="connsiteY2" fmla="*/ 1843 h 149899"/>
                <a:gd name="connsiteX3" fmla="*/ 77038 w 127782"/>
                <a:gd name="connsiteY3" fmla="*/ 1843 h 149899"/>
                <a:gd name="connsiteX4" fmla="*/ 1843 w 127782"/>
                <a:gd name="connsiteY4" fmla="*/ 77038 h 149899"/>
                <a:gd name="connsiteX5" fmla="*/ 1843 w 127782"/>
                <a:gd name="connsiteY5" fmla="*/ 135769 h 149899"/>
                <a:gd name="connsiteX6" fmla="*/ 14621 w 127782"/>
                <a:gd name="connsiteY6" fmla="*/ 148548 h 149899"/>
                <a:gd name="connsiteX7" fmla="*/ 65243 w 127782"/>
                <a:gd name="connsiteY7" fmla="*/ 148548 h 149899"/>
                <a:gd name="connsiteX8" fmla="*/ 52465 w 127782"/>
                <a:gd name="connsiteY8" fmla="*/ 135769 h 149899"/>
                <a:gd name="connsiteX9" fmla="*/ 52465 w 127782"/>
                <a:gd name="connsiteY9" fmla="*/ 135769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82" h="149899">
                  <a:moveTo>
                    <a:pt x="52465" y="135769"/>
                  </a:moveTo>
                  <a:lnTo>
                    <a:pt x="52465" y="77038"/>
                  </a:lnTo>
                  <a:cubicBezTo>
                    <a:pt x="52465" y="35755"/>
                    <a:pt x="86376" y="1843"/>
                    <a:pt x="127660" y="1843"/>
                  </a:cubicBezTo>
                  <a:lnTo>
                    <a:pt x="77038" y="1843"/>
                  </a:lnTo>
                  <a:cubicBezTo>
                    <a:pt x="35755" y="1843"/>
                    <a:pt x="1843" y="35755"/>
                    <a:pt x="1843" y="77038"/>
                  </a:cubicBezTo>
                  <a:lnTo>
                    <a:pt x="1843" y="135769"/>
                  </a:lnTo>
                  <a:cubicBezTo>
                    <a:pt x="1843" y="142896"/>
                    <a:pt x="7495" y="148548"/>
                    <a:pt x="14621" y="148548"/>
                  </a:cubicBezTo>
                  <a:lnTo>
                    <a:pt x="65243" y="148548"/>
                  </a:lnTo>
                  <a:cubicBezTo>
                    <a:pt x="58117" y="148548"/>
                    <a:pt x="52465" y="142896"/>
                    <a:pt x="52465" y="135769"/>
                  </a:cubicBezTo>
                  <a:lnTo>
                    <a:pt x="52465" y="135769"/>
                  </a:lnTo>
                  <a:close/>
                </a:path>
              </a:pathLst>
            </a:custGeom>
            <a:solidFill>
              <a:srgbClr val="EE5253"/>
            </a:solidFill>
            <a:ln w="9525" cap="flat">
              <a:noFill/>
              <a:prstDash val="solid"/>
              <a:miter/>
            </a:ln>
          </p:spPr>
          <p:txBody>
            <a:bodyPr rtlCol="0" anchor="ctr"/>
            <a:lstStyle/>
            <a:p>
              <a:endParaRPr lang="en-US" sz="1568"/>
            </a:p>
          </p:txBody>
        </p:sp>
        <p:sp>
          <p:nvSpPr>
            <p:cNvPr id="25" name="Freeform: Shape 24">
              <a:extLst>
                <a:ext uri="{FF2B5EF4-FFF2-40B4-BE49-F238E27FC236}">
                  <a16:creationId xmlns:a16="http://schemas.microsoft.com/office/drawing/2014/main" id="{E6951E93-A0B6-4D6C-A55C-9D6E53022F4F}"/>
                </a:ext>
              </a:extLst>
            </p:cNvPr>
            <p:cNvSpPr/>
            <p:nvPr/>
          </p:nvSpPr>
          <p:spPr>
            <a:xfrm>
              <a:off x="6579707" y="5494741"/>
              <a:ext cx="41775" cy="95837"/>
            </a:xfrm>
            <a:custGeom>
              <a:avLst/>
              <a:gdLst>
                <a:gd name="connsiteX0" fmla="*/ 39686 w 41775"/>
                <a:gd name="connsiteY0" fmla="*/ 20765 h 95837"/>
                <a:gd name="connsiteX1" fmla="*/ 20765 w 41775"/>
                <a:gd name="connsiteY1" fmla="*/ 1843 h 95837"/>
                <a:gd name="connsiteX2" fmla="*/ 1843 w 41775"/>
                <a:gd name="connsiteY2" fmla="*/ 20765 h 95837"/>
                <a:gd name="connsiteX3" fmla="*/ 1843 w 41775"/>
                <a:gd name="connsiteY3" fmla="*/ 94977 h 95837"/>
                <a:gd name="connsiteX4" fmla="*/ 39932 w 41775"/>
                <a:gd name="connsiteY4" fmla="*/ 94977 h 95837"/>
                <a:gd name="connsiteX5" fmla="*/ 39932 w 41775"/>
                <a:gd name="connsiteY5" fmla="*/ 20765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775" h="95837">
                  <a:moveTo>
                    <a:pt x="39686" y="20765"/>
                  </a:moveTo>
                  <a:cubicBezTo>
                    <a:pt x="39686" y="10198"/>
                    <a:pt x="31086" y="1843"/>
                    <a:pt x="20765" y="1843"/>
                  </a:cubicBezTo>
                  <a:cubicBezTo>
                    <a:pt x="10198" y="1843"/>
                    <a:pt x="1843" y="10444"/>
                    <a:pt x="1843" y="20765"/>
                  </a:cubicBezTo>
                  <a:lnTo>
                    <a:pt x="1843" y="94977"/>
                  </a:lnTo>
                  <a:lnTo>
                    <a:pt x="39932" y="94977"/>
                  </a:lnTo>
                  <a:lnTo>
                    <a:pt x="39932" y="20765"/>
                  </a:lnTo>
                  <a:close/>
                </a:path>
              </a:pathLst>
            </a:custGeom>
            <a:solidFill>
              <a:srgbClr val="EE5253"/>
            </a:solidFill>
            <a:ln w="9525" cap="flat">
              <a:noFill/>
              <a:prstDash val="solid"/>
              <a:miter/>
            </a:ln>
          </p:spPr>
          <p:txBody>
            <a:bodyPr rtlCol="0" anchor="ctr"/>
            <a:lstStyle/>
            <a:p>
              <a:endParaRPr lang="en-US" sz="1568"/>
            </a:p>
          </p:txBody>
        </p:sp>
        <p:sp>
          <p:nvSpPr>
            <p:cNvPr id="26" name="Freeform: Shape 25">
              <a:extLst>
                <a:ext uri="{FF2B5EF4-FFF2-40B4-BE49-F238E27FC236}">
                  <a16:creationId xmlns:a16="http://schemas.microsoft.com/office/drawing/2014/main" id="{E5E74AD5-F14F-4A67-89F6-6E16E13A13CC}"/>
                </a:ext>
              </a:extLst>
            </p:cNvPr>
            <p:cNvSpPr/>
            <p:nvPr/>
          </p:nvSpPr>
          <p:spPr>
            <a:xfrm>
              <a:off x="6465440" y="5494741"/>
              <a:ext cx="39318" cy="95837"/>
            </a:xfrm>
            <a:custGeom>
              <a:avLst/>
              <a:gdLst>
                <a:gd name="connsiteX0" fmla="*/ 39686 w 39317"/>
                <a:gd name="connsiteY0" fmla="*/ 94977 h 95837"/>
                <a:gd name="connsiteX1" fmla="*/ 39686 w 39317"/>
                <a:gd name="connsiteY1" fmla="*/ 20765 h 95837"/>
                <a:gd name="connsiteX2" fmla="*/ 20765 w 39317"/>
                <a:gd name="connsiteY2" fmla="*/ 1843 h 95837"/>
                <a:gd name="connsiteX3" fmla="*/ 1843 w 39317"/>
                <a:gd name="connsiteY3" fmla="*/ 20765 h 95837"/>
                <a:gd name="connsiteX4" fmla="*/ 1843 w 39317"/>
                <a:gd name="connsiteY4" fmla="*/ 94977 h 95837"/>
                <a:gd name="connsiteX5" fmla="*/ 39686 w 39317"/>
                <a:gd name="connsiteY5" fmla="*/ 94977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17" h="95837">
                  <a:moveTo>
                    <a:pt x="39686" y="94977"/>
                  </a:moveTo>
                  <a:lnTo>
                    <a:pt x="39686" y="20765"/>
                  </a:lnTo>
                  <a:cubicBezTo>
                    <a:pt x="39686" y="10198"/>
                    <a:pt x="31086" y="1843"/>
                    <a:pt x="20765" y="1843"/>
                  </a:cubicBezTo>
                  <a:cubicBezTo>
                    <a:pt x="10198" y="1843"/>
                    <a:pt x="1843" y="10444"/>
                    <a:pt x="1843" y="20765"/>
                  </a:cubicBezTo>
                  <a:lnTo>
                    <a:pt x="1843" y="94977"/>
                  </a:lnTo>
                  <a:lnTo>
                    <a:pt x="39686" y="94977"/>
                  </a:lnTo>
                  <a:close/>
                </a:path>
              </a:pathLst>
            </a:custGeom>
            <a:solidFill>
              <a:srgbClr val="EE5253"/>
            </a:solidFill>
            <a:ln w="9525" cap="flat">
              <a:noFill/>
              <a:prstDash val="solid"/>
              <a:miter/>
            </a:ln>
          </p:spPr>
          <p:txBody>
            <a:bodyPr rtlCol="0" anchor="ctr"/>
            <a:lstStyle/>
            <a:p>
              <a:endParaRPr lang="en-US" sz="1568"/>
            </a:p>
          </p:txBody>
        </p:sp>
        <p:sp>
          <p:nvSpPr>
            <p:cNvPr id="27" name="Freeform: Shape 26">
              <a:extLst>
                <a:ext uri="{FF2B5EF4-FFF2-40B4-BE49-F238E27FC236}">
                  <a16:creationId xmlns:a16="http://schemas.microsoft.com/office/drawing/2014/main" id="{BDD779C9-28C3-408C-89CB-062D53733366}"/>
                </a:ext>
              </a:extLst>
            </p:cNvPr>
            <p:cNvSpPr/>
            <p:nvPr/>
          </p:nvSpPr>
          <p:spPr>
            <a:xfrm>
              <a:off x="5624284" y="5300609"/>
              <a:ext cx="142527" cy="142527"/>
            </a:xfrm>
            <a:custGeom>
              <a:avLst/>
              <a:gdLst>
                <a:gd name="connsiteX0" fmla="*/ 142404 w 142527"/>
                <a:gd name="connsiteY0" fmla="*/ 72124 h 142527"/>
                <a:gd name="connsiteX1" fmla="*/ 72124 w 142527"/>
                <a:gd name="connsiteY1" fmla="*/ 142158 h 142527"/>
                <a:gd name="connsiteX2" fmla="*/ 1843 w 142527"/>
                <a:gd name="connsiteY2" fmla="*/ 72124 h 142527"/>
                <a:gd name="connsiteX3" fmla="*/ 72124 w 142527"/>
                <a:gd name="connsiteY3" fmla="*/ 1843 h 142527"/>
                <a:gd name="connsiteX4" fmla="*/ 142404 w 142527"/>
                <a:gd name="connsiteY4" fmla="*/ 72124 h 142527"/>
                <a:gd name="connsiteX5" fmla="*/ 142404 w 142527"/>
                <a:gd name="connsiteY5"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527" h="142527">
                  <a:moveTo>
                    <a:pt x="142404" y="72124"/>
                  </a:moveTo>
                  <a:cubicBezTo>
                    <a:pt x="142404" y="110950"/>
                    <a:pt x="110950" y="142158"/>
                    <a:pt x="72124" y="142158"/>
                  </a:cubicBezTo>
                  <a:cubicBezTo>
                    <a:pt x="33297" y="142158"/>
                    <a:pt x="1843" y="110704"/>
                    <a:pt x="1843" y="72124"/>
                  </a:cubicBezTo>
                  <a:cubicBezTo>
                    <a:pt x="1843" y="33297"/>
                    <a:pt x="33297" y="1843"/>
                    <a:pt x="72124" y="1843"/>
                  </a:cubicBezTo>
                  <a:cubicBezTo>
                    <a:pt x="110950" y="1843"/>
                    <a:pt x="142404" y="33543"/>
                    <a:pt x="142404" y="72124"/>
                  </a:cubicBezTo>
                  <a:lnTo>
                    <a:pt x="142404" y="72124"/>
                  </a:lnTo>
                  <a:close/>
                </a:path>
              </a:pathLst>
            </a:custGeom>
            <a:solidFill>
              <a:srgbClr val="FFCDBF"/>
            </a:solidFill>
            <a:ln w="9525" cap="flat">
              <a:noFill/>
              <a:prstDash val="solid"/>
              <a:miter/>
            </a:ln>
          </p:spPr>
          <p:txBody>
            <a:bodyPr rtlCol="0" anchor="ctr"/>
            <a:lstStyle/>
            <a:p>
              <a:endParaRPr lang="en-US" sz="1568"/>
            </a:p>
          </p:txBody>
        </p:sp>
        <p:sp>
          <p:nvSpPr>
            <p:cNvPr id="28" name="Freeform: Shape 27">
              <a:extLst>
                <a:ext uri="{FF2B5EF4-FFF2-40B4-BE49-F238E27FC236}">
                  <a16:creationId xmlns:a16="http://schemas.microsoft.com/office/drawing/2014/main" id="{5C3DB338-B08D-4C3D-8E02-12DF0AC13236}"/>
                </a:ext>
              </a:extLst>
            </p:cNvPr>
            <p:cNvSpPr/>
            <p:nvPr/>
          </p:nvSpPr>
          <p:spPr>
            <a:xfrm>
              <a:off x="5579806" y="5441170"/>
              <a:ext cx="233449" cy="149899"/>
            </a:xfrm>
            <a:custGeom>
              <a:avLst/>
              <a:gdLst>
                <a:gd name="connsiteX0" fmla="*/ 156411 w 233449"/>
                <a:gd name="connsiteY0" fmla="*/ 1843 h 149899"/>
                <a:gd name="connsiteX1" fmla="*/ 77038 w 233449"/>
                <a:gd name="connsiteY1" fmla="*/ 1843 h 149899"/>
                <a:gd name="connsiteX2" fmla="*/ 1843 w 233449"/>
                <a:gd name="connsiteY2" fmla="*/ 77038 h 149899"/>
                <a:gd name="connsiteX3" fmla="*/ 1843 w 233449"/>
                <a:gd name="connsiteY3" fmla="*/ 135769 h 149899"/>
                <a:gd name="connsiteX4" fmla="*/ 14621 w 233449"/>
                <a:gd name="connsiteY4" fmla="*/ 148548 h 149899"/>
                <a:gd name="connsiteX5" fmla="*/ 218828 w 233449"/>
                <a:gd name="connsiteY5" fmla="*/ 148548 h 149899"/>
                <a:gd name="connsiteX6" fmla="*/ 231606 w 233449"/>
                <a:gd name="connsiteY6" fmla="*/ 135769 h 149899"/>
                <a:gd name="connsiteX7" fmla="*/ 231606 w 233449"/>
                <a:gd name="connsiteY7" fmla="*/ 77038 h 149899"/>
                <a:gd name="connsiteX8" fmla="*/ 156411 w 233449"/>
                <a:gd name="connsiteY8" fmla="*/ 1843 h 149899"/>
                <a:gd name="connsiteX9" fmla="*/ 156411 w 233449"/>
                <a:gd name="connsiteY9" fmla="*/ 1843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3449" h="149899">
                  <a:moveTo>
                    <a:pt x="156411" y="1843"/>
                  </a:moveTo>
                  <a:lnTo>
                    <a:pt x="77038" y="1843"/>
                  </a:lnTo>
                  <a:cubicBezTo>
                    <a:pt x="35755" y="1843"/>
                    <a:pt x="1843" y="35509"/>
                    <a:pt x="1843" y="77038"/>
                  </a:cubicBezTo>
                  <a:lnTo>
                    <a:pt x="1843" y="135769"/>
                  </a:lnTo>
                  <a:cubicBezTo>
                    <a:pt x="1843" y="142896"/>
                    <a:pt x="7495" y="148548"/>
                    <a:pt x="14621" y="148548"/>
                  </a:cubicBezTo>
                  <a:lnTo>
                    <a:pt x="218828" y="148548"/>
                  </a:lnTo>
                  <a:cubicBezTo>
                    <a:pt x="225955" y="148548"/>
                    <a:pt x="231606" y="142896"/>
                    <a:pt x="231606" y="135769"/>
                  </a:cubicBezTo>
                  <a:lnTo>
                    <a:pt x="231606" y="77038"/>
                  </a:lnTo>
                  <a:cubicBezTo>
                    <a:pt x="231606" y="35509"/>
                    <a:pt x="197695" y="1843"/>
                    <a:pt x="156411" y="1843"/>
                  </a:cubicBezTo>
                  <a:lnTo>
                    <a:pt x="156411" y="1843"/>
                  </a:lnTo>
                  <a:close/>
                </a:path>
              </a:pathLst>
            </a:custGeom>
            <a:solidFill>
              <a:srgbClr val="FF6B6B"/>
            </a:solidFill>
            <a:ln w="9525" cap="flat">
              <a:noFill/>
              <a:prstDash val="solid"/>
              <a:miter/>
            </a:ln>
          </p:spPr>
          <p:txBody>
            <a:bodyPr rtlCol="0" anchor="ctr"/>
            <a:lstStyle/>
            <a:p>
              <a:endParaRPr lang="en-US" sz="1568"/>
            </a:p>
          </p:txBody>
        </p:sp>
        <p:sp>
          <p:nvSpPr>
            <p:cNvPr id="29" name="Freeform: Shape 28">
              <a:extLst>
                <a:ext uri="{FF2B5EF4-FFF2-40B4-BE49-F238E27FC236}">
                  <a16:creationId xmlns:a16="http://schemas.microsoft.com/office/drawing/2014/main" id="{BD1CBD7B-F69B-4F7D-A9A2-53320D44C104}"/>
                </a:ext>
              </a:extLst>
            </p:cNvPr>
            <p:cNvSpPr/>
            <p:nvPr/>
          </p:nvSpPr>
          <p:spPr>
            <a:xfrm>
              <a:off x="5579806" y="5441170"/>
              <a:ext cx="127783" cy="149899"/>
            </a:xfrm>
            <a:custGeom>
              <a:avLst/>
              <a:gdLst>
                <a:gd name="connsiteX0" fmla="*/ 52465 w 127782"/>
                <a:gd name="connsiteY0" fmla="*/ 135769 h 149899"/>
                <a:gd name="connsiteX1" fmla="*/ 52465 w 127782"/>
                <a:gd name="connsiteY1" fmla="*/ 77038 h 149899"/>
                <a:gd name="connsiteX2" fmla="*/ 127660 w 127782"/>
                <a:gd name="connsiteY2" fmla="*/ 1843 h 149899"/>
                <a:gd name="connsiteX3" fmla="*/ 77038 w 127782"/>
                <a:gd name="connsiteY3" fmla="*/ 1843 h 149899"/>
                <a:gd name="connsiteX4" fmla="*/ 1843 w 127782"/>
                <a:gd name="connsiteY4" fmla="*/ 77038 h 149899"/>
                <a:gd name="connsiteX5" fmla="*/ 1843 w 127782"/>
                <a:gd name="connsiteY5" fmla="*/ 135769 h 149899"/>
                <a:gd name="connsiteX6" fmla="*/ 14621 w 127782"/>
                <a:gd name="connsiteY6" fmla="*/ 148548 h 149899"/>
                <a:gd name="connsiteX7" fmla="*/ 65243 w 127782"/>
                <a:gd name="connsiteY7" fmla="*/ 148548 h 149899"/>
                <a:gd name="connsiteX8" fmla="*/ 52465 w 127782"/>
                <a:gd name="connsiteY8" fmla="*/ 135769 h 149899"/>
                <a:gd name="connsiteX9" fmla="*/ 52465 w 127782"/>
                <a:gd name="connsiteY9" fmla="*/ 135769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82" h="149899">
                  <a:moveTo>
                    <a:pt x="52465" y="135769"/>
                  </a:moveTo>
                  <a:lnTo>
                    <a:pt x="52465" y="77038"/>
                  </a:lnTo>
                  <a:cubicBezTo>
                    <a:pt x="52465" y="35755"/>
                    <a:pt x="86376" y="1843"/>
                    <a:pt x="127660" y="1843"/>
                  </a:cubicBezTo>
                  <a:lnTo>
                    <a:pt x="77038" y="1843"/>
                  </a:lnTo>
                  <a:cubicBezTo>
                    <a:pt x="35755" y="1843"/>
                    <a:pt x="1843" y="35509"/>
                    <a:pt x="1843" y="77038"/>
                  </a:cubicBezTo>
                  <a:lnTo>
                    <a:pt x="1843" y="135769"/>
                  </a:lnTo>
                  <a:cubicBezTo>
                    <a:pt x="1843" y="142896"/>
                    <a:pt x="7495" y="148548"/>
                    <a:pt x="14621" y="148548"/>
                  </a:cubicBezTo>
                  <a:lnTo>
                    <a:pt x="65243" y="148548"/>
                  </a:lnTo>
                  <a:cubicBezTo>
                    <a:pt x="58117" y="148548"/>
                    <a:pt x="52465" y="142896"/>
                    <a:pt x="52465" y="135769"/>
                  </a:cubicBezTo>
                  <a:lnTo>
                    <a:pt x="52465" y="135769"/>
                  </a:lnTo>
                  <a:close/>
                </a:path>
              </a:pathLst>
            </a:custGeom>
            <a:solidFill>
              <a:srgbClr val="EE5253"/>
            </a:solidFill>
            <a:ln w="9525" cap="flat">
              <a:noFill/>
              <a:prstDash val="solid"/>
              <a:miter/>
            </a:ln>
          </p:spPr>
          <p:txBody>
            <a:bodyPr rtlCol="0" anchor="ctr"/>
            <a:lstStyle/>
            <a:p>
              <a:endParaRPr lang="en-US" sz="1568"/>
            </a:p>
          </p:txBody>
        </p:sp>
        <p:sp>
          <p:nvSpPr>
            <p:cNvPr id="30" name="Freeform: Shape 29">
              <a:extLst>
                <a:ext uri="{FF2B5EF4-FFF2-40B4-BE49-F238E27FC236}">
                  <a16:creationId xmlns:a16="http://schemas.microsoft.com/office/drawing/2014/main" id="{14AC3C4F-66E5-466F-95A3-6AC5867EFC58}"/>
                </a:ext>
              </a:extLst>
            </p:cNvPr>
            <p:cNvSpPr/>
            <p:nvPr/>
          </p:nvSpPr>
          <p:spPr>
            <a:xfrm>
              <a:off x="5732900" y="5494741"/>
              <a:ext cx="41775" cy="95837"/>
            </a:xfrm>
            <a:custGeom>
              <a:avLst/>
              <a:gdLst>
                <a:gd name="connsiteX0" fmla="*/ 39686 w 41775"/>
                <a:gd name="connsiteY0" fmla="*/ 20765 h 95837"/>
                <a:gd name="connsiteX1" fmla="*/ 20765 w 41775"/>
                <a:gd name="connsiteY1" fmla="*/ 1843 h 95837"/>
                <a:gd name="connsiteX2" fmla="*/ 1843 w 41775"/>
                <a:gd name="connsiteY2" fmla="*/ 20765 h 95837"/>
                <a:gd name="connsiteX3" fmla="*/ 1843 w 41775"/>
                <a:gd name="connsiteY3" fmla="*/ 94977 h 95837"/>
                <a:gd name="connsiteX4" fmla="*/ 39932 w 41775"/>
                <a:gd name="connsiteY4" fmla="*/ 94977 h 95837"/>
                <a:gd name="connsiteX5" fmla="*/ 39932 w 41775"/>
                <a:gd name="connsiteY5" fmla="*/ 20765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775" h="95837">
                  <a:moveTo>
                    <a:pt x="39686" y="20765"/>
                  </a:moveTo>
                  <a:cubicBezTo>
                    <a:pt x="39686" y="10198"/>
                    <a:pt x="31086" y="1843"/>
                    <a:pt x="20765" y="1843"/>
                  </a:cubicBezTo>
                  <a:cubicBezTo>
                    <a:pt x="10198" y="1843"/>
                    <a:pt x="1843" y="10444"/>
                    <a:pt x="1843" y="20765"/>
                  </a:cubicBezTo>
                  <a:lnTo>
                    <a:pt x="1843" y="94977"/>
                  </a:lnTo>
                  <a:lnTo>
                    <a:pt x="39932" y="94977"/>
                  </a:lnTo>
                  <a:lnTo>
                    <a:pt x="39932" y="20765"/>
                  </a:lnTo>
                  <a:close/>
                </a:path>
              </a:pathLst>
            </a:custGeom>
            <a:solidFill>
              <a:srgbClr val="EE5253"/>
            </a:solidFill>
            <a:ln w="9525" cap="flat">
              <a:noFill/>
              <a:prstDash val="solid"/>
              <a:miter/>
            </a:ln>
          </p:spPr>
          <p:txBody>
            <a:bodyPr rtlCol="0" anchor="ctr"/>
            <a:lstStyle/>
            <a:p>
              <a:endParaRPr lang="en-US" sz="1568"/>
            </a:p>
          </p:txBody>
        </p:sp>
        <p:sp>
          <p:nvSpPr>
            <p:cNvPr id="31" name="Freeform: Shape 30">
              <a:extLst>
                <a:ext uri="{FF2B5EF4-FFF2-40B4-BE49-F238E27FC236}">
                  <a16:creationId xmlns:a16="http://schemas.microsoft.com/office/drawing/2014/main" id="{D02DD930-AE14-4738-915C-900132975304}"/>
                </a:ext>
              </a:extLst>
            </p:cNvPr>
            <p:cNvSpPr/>
            <p:nvPr/>
          </p:nvSpPr>
          <p:spPr>
            <a:xfrm>
              <a:off x="5618632" y="5494741"/>
              <a:ext cx="39318" cy="95837"/>
            </a:xfrm>
            <a:custGeom>
              <a:avLst/>
              <a:gdLst>
                <a:gd name="connsiteX0" fmla="*/ 39686 w 39317"/>
                <a:gd name="connsiteY0" fmla="*/ 94977 h 95837"/>
                <a:gd name="connsiteX1" fmla="*/ 39686 w 39317"/>
                <a:gd name="connsiteY1" fmla="*/ 20765 h 95837"/>
                <a:gd name="connsiteX2" fmla="*/ 20765 w 39317"/>
                <a:gd name="connsiteY2" fmla="*/ 1843 h 95837"/>
                <a:gd name="connsiteX3" fmla="*/ 1843 w 39317"/>
                <a:gd name="connsiteY3" fmla="*/ 20765 h 95837"/>
                <a:gd name="connsiteX4" fmla="*/ 1843 w 39317"/>
                <a:gd name="connsiteY4" fmla="*/ 94977 h 95837"/>
                <a:gd name="connsiteX5" fmla="*/ 39686 w 39317"/>
                <a:gd name="connsiteY5" fmla="*/ 94977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17" h="95837">
                  <a:moveTo>
                    <a:pt x="39686" y="94977"/>
                  </a:moveTo>
                  <a:lnTo>
                    <a:pt x="39686" y="20765"/>
                  </a:lnTo>
                  <a:cubicBezTo>
                    <a:pt x="39686" y="10198"/>
                    <a:pt x="31086" y="1843"/>
                    <a:pt x="20765" y="1843"/>
                  </a:cubicBezTo>
                  <a:cubicBezTo>
                    <a:pt x="10198" y="1843"/>
                    <a:pt x="1843" y="10444"/>
                    <a:pt x="1843" y="20765"/>
                  </a:cubicBezTo>
                  <a:lnTo>
                    <a:pt x="1843" y="94977"/>
                  </a:lnTo>
                  <a:lnTo>
                    <a:pt x="39686" y="94977"/>
                  </a:lnTo>
                  <a:close/>
                </a:path>
              </a:pathLst>
            </a:custGeom>
            <a:solidFill>
              <a:srgbClr val="EE5253"/>
            </a:solidFill>
            <a:ln w="9525" cap="flat">
              <a:noFill/>
              <a:prstDash val="solid"/>
              <a:miter/>
            </a:ln>
          </p:spPr>
          <p:txBody>
            <a:bodyPr rtlCol="0" anchor="ctr"/>
            <a:lstStyle/>
            <a:p>
              <a:endParaRPr lang="en-US" sz="1568"/>
            </a:p>
          </p:txBody>
        </p:sp>
        <p:sp>
          <p:nvSpPr>
            <p:cNvPr id="32" name="Freeform: Shape 31">
              <a:extLst>
                <a:ext uri="{FF2B5EF4-FFF2-40B4-BE49-F238E27FC236}">
                  <a16:creationId xmlns:a16="http://schemas.microsoft.com/office/drawing/2014/main" id="{061E1376-C031-43AC-90F7-87A478DB52FF}"/>
                </a:ext>
              </a:extLst>
            </p:cNvPr>
            <p:cNvSpPr/>
            <p:nvPr/>
          </p:nvSpPr>
          <p:spPr>
            <a:xfrm>
              <a:off x="6471092" y="4858775"/>
              <a:ext cx="142527" cy="142527"/>
            </a:xfrm>
            <a:custGeom>
              <a:avLst/>
              <a:gdLst>
                <a:gd name="connsiteX0" fmla="*/ 142404 w 142527"/>
                <a:gd name="connsiteY0" fmla="*/ 72124 h 142527"/>
                <a:gd name="connsiteX1" fmla="*/ 72124 w 142527"/>
                <a:gd name="connsiteY1" fmla="*/ 142404 h 142527"/>
                <a:gd name="connsiteX2" fmla="*/ 1843 w 142527"/>
                <a:gd name="connsiteY2" fmla="*/ 72124 h 142527"/>
                <a:gd name="connsiteX3" fmla="*/ 72124 w 142527"/>
                <a:gd name="connsiteY3" fmla="*/ 1843 h 142527"/>
                <a:gd name="connsiteX4" fmla="*/ 142404 w 142527"/>
                <a:gd name="connsiteY4" fmla="*/ 72124 h 142527"/>
                <a:gd name="connsiteX5" fmla="*/ 142404 w 142527"/>
                <a:gd name="connsiteY5"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527" h="142527">
                  <a:moveTo>
                    <a:pt x="142404" y="72124"/>
                  </a:moveTo>
                  <a:cubicBezTo>
                    <a:pt x="142404" y="110950"/>
                    <a:pt x="110950" y="142404"/>
                    <a:pt x="72124" y="142404"/>
                  </a:cubicBezTo>
                  <a:cubicBezTo>
                    <a:pt x="33297" y="142404"/>
                    <a:pt x="1843" y="110950"/>
                    <a:pt x="1843" y="72124"/>
                  </a:cubicBezTo>
                  <a:cubicBezTo>
                    <a:pt x="1843" y="33297"/>
                    <a:pt x="33297" y="1843"/>
                    <a:pt x="72124" y="1843"/>
                  </a:cubicBezTo>
                  <a:cubicBezTo>
                    <a:pt x="110950" y="2089"/>
                    <a:pt x="142404" y="33543"/>
                    <a:pt x="142404" y="72124"/>
                  </a:cubicBezTo>
                  <a:lnTo>
                    <a:pt x="142404" y="72124"/>
                  </a:lnTo>
                  <a:close/>
                </a:path>
              </a:pathLst>
            </a:custGeom>
            <a:solidFill>
              <a:srgbClr val="FFCDBF"/>
            </a:solidFill>
            <a:ln w="9525" cap="flat">
              <a:noFill/>
              <a:prstDash val="solid"/>
              <a:miter/>
            </a:ln>
          </p:spPr>
          <p:txBody>
            <a:bodyPr rtlCol="0" anchor="ctr"/>
            <a:lstStyle/>
            <a:p>
              <a:endParaRPr lang="en-US" sz="1568"/>
            </a:p>
          </p:txBody>
        </p:sp>
        <p:sp>
          <p:nvSpPr>
            <p:cNvPr id="33" name="Freeform: Shape 32">
              <a:extLst>
                <a:ext uri="{FF2B5EF4-FFF2-40B4-BE49-F238E27FC236}">
                  <a16:creationId xmlns:a16="http://schemas.microsoft.com/office/drawing/2014/main" id="{BA065FE3-B95C-4BE7-AB7C-39D6EDC060A4}"/>
                </a:ext>
              </a:extLst>
            </p:cNvPr>
            <p:cNvSpPr/>
            <p:nvPr/>
          </p:nvSpPr>
          <p:spPr>
            <a:xfrm>
              <a:off x="6426613" y="4999336"/>
              <a:ext cx="233449" cy="149899"/>
            </a:xfrm>
            <a:custGeom>
              <a:avLst/>
              <a:gdLst>
                <a:gd name="connsiteX0" fmla="*/ 156411 w 233449"/>
                <a:gd name="connsiteY0" fmla="*/ 1843 h 149899"/>
                <a:gd name="connsiteX1" fmla="*/ 77038 w 233449"/>
                <a:gd name="connsiteY1" fmla="*/ 1843 h 149899"/>
                <a:gd name="connsiteX2" fmla="*/ 1843 w 233449"/>
                <a:gd name="connsiteY2" fmla="*/ 77038 h 149899"/>
                <a:gd name="connsiteX3" fmla="*/ 1843 w 233449"/>
                <a:gd name="connsiteY3" fmla="*/ 135769 h 149899"/>
                <a:gd name="connsiteX4" fmla="*/ 14621 w 233449"/>
                <a:gd name="connsiteY4" fmla="*/ 148548 h 149899"/>
                <a:gd name="connsiteX5" fmla="*/ 218828 w 233449"/>
                <a:gd name="connsiteY5" fmla="*/ 148548 h 149899"/>
                <a:gd name="connsiteX6" fmla="*/ 231606 w 233449"/>
                <a:gd name="connsiteY6" fmla="*/ 135769 h 149899"/>
                <a:gd name="connsiteX7" fmla="*/ 231606 w 233449"/>
                <a:gd name="connsiteY7" fmla="*/ 77038 h 149899"/>
                <a:gd name="connsiteX8" fmla="*/ 156411 w 233449"/>
                <a:gd name="connsiteY8" fmla="*/ 1843 h 149899"/>
                <a:gd name="connsiteX9" fmla="*/ 156411 w 233449"/>
                <a:gd name="connsiteY9" fmla="*/ 1843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3449" h="149899">
                  <a:moveTo>
                    <a:pt x="156411" y="1843"/>
                  </a:moveTo>
                  <a:lnTo>
                    <a:pt x="77038" y="1843"/>
                  </a:lnTo>
                  <a:cubicBezTo>
                    <a:pt x="35755" y="1843"/>
                    <a:pt x="1843" y="35755"/>
                    <a:pt x="1843" y="77038"/>
                  </a:cubicBezTo>
                  <a:lnTo>
                    <a:pt x="1843" y="135769"/>
                  </a:lnTo>
                  <a:cubicBezTo>
                    <a:pt x="1843" y="142896"/>
                    <a:pt x="7495" y="148548"/>
                    <a:pt x="14621" y="148548"/>
                  </a:cubicBezTo>
                  <a:lnTo>
                    <a:pt x="218828" y="148548"/>
                  </a:lnTo>
                  <a:cubicBezTo>
                    <a:pt x="225954" y="148548"/>
                    <a:pt x="231606" y="142896"/>
                    <a:pt x="231606" y="135769"/>
                  </a:cubicBezTo>
                  <a:lnTo>
                    <a:pt x="231606" y="77038"/>
                  </a:lnTo>
                  <a:cubicBezTo>
                    <a:pt x="231606" y="35755"/>
                    <a:pt x="197695" y="1843"/>
                    <a:pt x="156411" y="1843"/>
                  </a:cubicBezTo>
                  <a:lnTo>
                    <a:pt x="156411" y="1843"/>
                  </a:lnTo>
                  <a:close/>
                </a:path>
              </a:pathLst>
            </a:custGeom>
            <a:solidFill>
              <a:srgbClr val="FF6B6B"/>
            </a:solidFill>
            <a:ln w="9525" cap="flat">
              <a:noFill/>
              <a:prstDash val="solid"/>
              <a:miter/>
            </a:ln>
          </p:spPr>
          <p:txBody>
            <a:bodyPr rtlCol="0" anchor="ctr"/>
            <a:lstStyle/>
            <a:p>
              <a:endParaRPr lang="en-US" sz="1568"/>
            </a:p>
          </p:txBody>
        </p:sp>
        <p:sp>
          <p:nvSpPr>
            <p:cNvPr id="34" name="Freeform: Shape 33">
              <a:extLst>
                <a:ext uri="{FF2B5EF4-FFF2-40B4-BE49-F238E27FC236}">
                  <a16:creationId xmlns:a16="http://schemas.microsoft.com/office/drawing/2014/main" id="{C2362159-B0A2-41B6-9F43-0157F9D3CE48}"/>
                </a:ext>
              </a:extLst>
            </p:cNvPr>
            <p:cNvSpPr/>
            <p:nvPr/>
          </p:nvSpPr>
          <p:spPr>
            <a:xfrm>
              <a:off x="6426613" y="4999336"/>
              <a:ext cx="127783" cy="149899"/>
            </a:xfrm>
            <a:custGeom>
              <a:avLst/>
              <a:gdLst>
                <a:gd name="connsiteX0" fmla="*/ 52465 w 127782"/>
                <a:gd name="connsiteY0" fmla="*/ 135769 h 149899"/>
                <a:gd name="connsiteX1" fmla="*/ 52465 w 127782"/>
                <a:gd name="connsiteY1" fmla="*/ 77038 h 149899"/>
                <a:gd name="connsiteX2" fmla="*/ 127660 w 127782"/>
                <a:gd name="connsiteY2" fmla="*/ 1843 h 149899"/>
                <a:gd name="connsiteX3" fmla="*/ 77038 w 127782"/>
                <a:gd name="connsiteY3" fmla="*/ 1843 h 149899"/>
                <a:gd name="connsiteX4" fmla="*/ 1843 w 127782"/>
                <a:gd name="connsiteY4" fmla="*/ 77038 h 149899"/>
                <a:gd name="connsiteX5" fmla="*/ 1843 w 127782"/>
                <a:gd name="connsiteY5" fmla="*/ 135769 h 149899"/>
                <a:gd name="connsiteX6" fmla="*/ 14621 w 127782"/>
                <a:gd name="connsiteY6" fmla="*/ 148548 h 149899"/>
                <a:gd name="connsiteX7" fmla="*/ 65243 w 127782"/>
                <a:gd name="connsiteY7" fmla="*/ 148548 h 149899"/>
                <a:gd name="connsiteX8" fmla="*/ 52465 w 127782"/>
                <a:gd name="connsiteY8" fmla="*/ 135769 h 149899"/>
                <a:gd name="connsiteX9" fmla="*/ 52465 w 127782"/>
                <a:gd name="connsiteY9" fmla="*/ 135769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82" h="149899">
                  <a:moveTo>
                    <a:pt x="52465" y="135769"/>
                  </a:moveTo>
                  <a:lnTo>
                    <a:pt x="52465" y="77038"/>
                  </a:lnTo>
                  <a:cubicBezTo>
                    <a:pt x="52465" y="35755"/>
                    <a:pt x="86376" y="1843"/>
                    <a:pt x="127660" y="1843"/>
                  </a:cubicBezTo>
                  <a:lnTo>
                    <a:pt x="77038" y="1843"/>
                  </a:lnTo>
                  <a:cubicBezTo>
                    <a:pt x="35755" y="1843"/>
                    <a:pt x="1843" y="35755"/>
                    <a:pt x="1843" y="77038"/>
                  </a:cubicBezTo>
                  <a:lnTo>
                    <a:pt x="1843" y="135769"/>
                  </a:lnTo>
                  <a:cubicBezTo>
                    <a:pt x="1843" y="142896"/>
                    <a:pt x="7495" y="148548"/>
                    <a:pt x="14621" y="148548"/>
                  </a:cubicBezTo>
                  <a:lnTo>
                    <a:pt x="65243" y="148548"/>
                  </a:lnTo>
                  <a:cubicBezTo>
                    <a:pt x="58117" y="148548"/>
                    <a:pt x="52465" y="142896"/>
                    <a:pt x="52465" y="135769"/>
                  </a:cubicBezTo>
                  <a:lnTo>
                    <a:pt x="52465" y="135769"/>
                  </a:lnTo>
                  <a:close/>
                </a:path>
              </a:pathLst>
            </a:custGeom>
            <a:solidFill>
              <a:srgbClr val="EE5253"/>
            </a:solidFill>
            <a:ln w="9525" cap="flat">
              <a:noFill/>
              <a:prstDash val="solid"/>
              <a:miter/>
            </a:ln>
          </p:spPr>
          <p:txBody>
            <a:bodyPr rtlCol="0" anchor="ctr"/>
            <a:lstStyle/>
            <a:p>
              <a:endParaRPr lang="en-US" sz="1568"/>
            </a:p>
          </p:txBody>
        </p:sp>
        <p:sp>
          <p:nvSpPr>
            <p:cNvPr id="35" name="Freeform: Shape 34">
              <a:extLst>
                <a:ext uri="{FF2B5EF4-FFF2-40B4-BE49-F238E27FC236}">
                  <a16:creationId xmlns:a16="http://schemas.microsoft.com/office/drawing/2014/main" id="{C1969456-0198-4E52-83B5-AA0FD1545ACC}"/>
                </a:ext>
              </a:extLst>
            </p:cNvPr>
            <p:cNvSpPr/>
            <p:nvPr/>
          </p:nvSpPr>
          <p:spPr>
            <a:xfrm>
              <a:off x="6579707" y="5052907"/>
              <a:ext cx="41775" cy="95837"/>
            </a:xfrm>
            <a:custGeom>
              <a:avLst/>
              <a:gdLst>
                <a:gd name="connsiteX0" fmla="*/ 39686 w 41775"/>
                <a:gd name="connsiteY0" fmla="*/ 20765 h 95837"/>
                <a:gd name="connsiteX1" fmla="*/ 20765 w 41775"/>
                <a:gd name="connsiteY1" fmla="*/ 1843 h 95837"/>
                <a:gd name="connsiteX2" fmla="*/ 1843 w 41775"/>
                <a:gd name="connsiteY2" fmla="*/ 20765 h 95837"/>
                <a:gd name="connsiteX3" fmla="*/ 1843 w 41775"/>
                <a:gd name="connsiteY3" fmla="*/ 94977 h 95837"/>
                <a:gd name="connsiteX4" fmla="*/ 39932 w 41775"/>
                <a:gd name="connsiteY4" fmla="*/ 94977 h 95837"/>
                <a:gd name="connsiteX5" fmla="*/ 39932 w 41775"/>
                <a:gd name="connsiteY5" fmla="*/ 20765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775" h="95837">
                  <a:moveTo>
                    <a:pt x="39686" y="20765"/>
                  </a:moveTo>
                  <a:cubicBezTo>
                    <a:pt x="39686" y="10198"/>
                    <a:pt x="31086" y="1843"/>
                    <a:pt x="20765" y="1843"/>
                  </a:cubicBezTo>
                  <a:cubicBezTo>
                    <a:pt x="10198" y="1843"/>
                    <a:pt x="1843" y="10444"/>
                    <a:pt x="1843" y="20765"/>
                  </a:cubicBezTo>
                  <a:lnTo>
                    <a:pt x="1843" y="94977"/>
                  </a:lnTo>
                  <a:lnTo>
                    <a:pt x="39932" y="94977"/>
                  </a:lnTo>
                  <a:lnTo>
                    <a:pt x="39932" y="20765"/>
                  </a:lnTo>
                  <a:close/>
                </a:path>
              </a:pathLst>
            </a:custGeom>
            <a:solidFill>
              <a:srgbClr val="EE5253"/>
            </a:solidFill>
            <a:ln w="9525" cap="flat">
              <a:noFill/>
              <a:prstDash val="solid"/>
              <a:miter/>
            </a:ln>
          </p:spPr>
          <p:txBody>
            <a:bodyPr rtlCol="0" anchor="ctr"/>
            <a:lstStyle/>
            <a:p>
              <a:endParaRPr lang="en-US" sz="1568"/>
            </a:p>
          </p:txBody>
        </p:sp>
        <p:sp>
          <p:nvSpPr>
            <p:cNvPr id="36" name="Freeform: Shape 35">
              <a:extLst>
                <a:ext uri="{FF2B5EF4-FFF2-40B4-BE49-F238E27FC236}">
                  <a16:creationId xmlns:a16="http://schemas.microsoft.com/office/drawing/2014/main" id="{63C7F683-347B-4BBB-BEE2-6A156D20D636}"/>
                </a:ext>
              </a:extLst>
            </p:cNvPr>
            <p:cNvSpPr/>
            <p:nvPr/>
          </p:nvSpPr>
          <p:spPr>
            <a:xfrm>
              <a:off x="6465440" y="5052907"/>
              <a:ext cx="39318" cy="95837"/>
            </a:xfrm>
            <a:custGeom>
              <a:avLst/>
              <a:gdLst>
                <a:gd name="connsiteX0" fmla="*/ 39686 w 39317"/>
                <a:gd name="connsiteY0" fmla="*/ 94977 h 95837"/>
                <a:gd name="connsiteX1" fmla="*/ 39686 w 39317"/>
                <a:gd name="connsiteY1" fmla="*/ 20765 h 95837"/>
                <a:gd name="connsiteX2" fmla="*/ 20765 w 39317"/>
                <a:gd name="connsiteY2" fmla="*/ 1843 h 95837"/>
                <a:gd name="connsiteX3" fmla="*/ 1843 w 39317"/>
                <a:gd name="connsiteY3" fmla="*/ 20765 h 95837"/>
                <a:gd name="connsiteX4" fmla="*/ 1843 w 39317"/>
                <a:gd name="connsiteY4" fmla="*/ 94977 h 95837"/>
                <a:gd name="connsiteX5" fmla="*/ 39686 w 39317"/>
                <a:gd name="connsiteY5" fmla="*/ 94977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17" h="95837">
                  <a:moveTo>
                    <a:pt x="39686" y="94977"/>
                  </a:moveTo>
                  <a:lnTo>
                    <a:pt x="39686" y="20765"/>
                  </a:lnTo>
                  <a:cubicBezTo>
                    <a:pt x="39686" y="10198"/>
                    <a:pt x="31086" y="1843"/>
                    <a:pt x="20765" y="1843"/>
                  </a:cubicBezTo>
                  <a:cubicBezTo>
                    <a:pt x="10198" y="1843"/>
                    <a:pt x="1843" y="10444"/>
                    <a:pt x="1843" y="20765"/>
                  </a:cubicBezTo>
                  <a:lnTo>
                    <a:pt x="1843" y="94977"/>
                  </a:lnTo>
                  <a:lnTo>
                    <a:pt x="39686" y="94977"/>
                  </a:lnTo>
                  <a:close/>
                </a:path>
              </a:pathLst>
            </a:custGeom>
            <a:solidFill>
              <a:srgbClr val="EE5253"/>
            </a:solidFill>
            <a:ln w="9525" cap="flat">
              <a:noFill/>
              <a:prstDash val="solid"/>
              <a:miter/>
            </a:ln>
          </p:spPr>
          <p:txBody>
            <a:bodyPr rtlCol="0" anchor="ctr"/>
            <a:lstStyle/>
            <a:p>
              <a:endParaRPr lang="en-US" sz="1568"/>
            </a:p>
          </p:txBody>
        </p:sp>
        <p:sp>
          <p:nvSpPr>
            <p:cNvPr id="37" name="Freeform: Shape 36">
              <a:extLst>
                <a:ext uri="{FF2B5EF4-FFF2-40B4-BE49-F238E27FC236}">
                  <a16:creationId xmlns:a16="http://schemas.microsoft.com/office/drawing/2014/main" id="{439300DE-FEEC-492F-89E9-06B0827DB907}"/>
                </a:ext>
              </a:extLst>
            </p:cNvPr>
            <p:cNvSpPr/>
            <p:nvPr/>
          </p:nvSpPr>
          <p:spPr>
            <a:xfrm>
              <a:off x="5624284" y="4858775"/>
              <a:ext cx="142527" cy="142527"/>
            </a:xfrm>
            <a:custGeom>
              <a:avLst/>
              <a:gdLst>
                <a:gd name="connsiteX0" fmla="*/ 142404 w 142527"/>
                <a:gd name="connsiteY0" fmla="*/ 72124 h 142527"/>
                <a:gd name="connsiteX1" fmla="*/ 72124 w 142527"/>
                <a:gd name="connsiteY1" fmla="*/ 142404 h 142527"/>
                <a:gd name="connsiteX2" fmla="*/ 1843 w 142527"/>
                <a:gd name="connsiteY2" fmla="*/ 72124 h 142527"/>
                <a:gd name="connsiteX3" fmla="*/ 72124 w 142527"/>
                <a:gd name="connsiteY3" fmla="*/ 1843 h 142527"/>
                <a:gd name="connsiteX4" fmla="*/ 142404 w 142527"/>
                <a:gd name="connsiteY4" fmla="*/ 72124 h 142527"/>
                <a:gd name="connsiteX5" fmla="*/ 142404 w 142527"/>
                <a:gd name="connsiteY5"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527" h="142527">
                  <a:moveTo>
                    <a:pt x="142404" y="72124"/>
                  </a:moveTo>
                  <a:cubicBezTo>
                    <a:pt x="142404" y="110950"/>
                    <a:pt x="110950" y="142404"/>
                    <a:pt x="72124" y="142404"/>
                  </a:cubicBezTo>
                  <a:cubicBezTo>
                    <a:pt x="33297" y="142404"/>
                    <a:pt x="1843" y="110950"/>
                    <a:pt x="1843" y="72124"/>
                  </a:cubicBezTo>
                  <a:cubicBezTo>
                    <a:pt x="1843" y="33297"/>
                    <a:pt x="33297" y="1843"/>
                    <a:pt x="72124" y="1843"/>
                  </a:cubicBezTo>
                  <a:cubicBezTo>
                    <a:pt x="110950" y="1843"/>
                    <a:pt x="142404" y="33543"/>
                    <a:pt x="142404" y="72124"/>
                  </a:cubicBezTo>
                  <a:lnTo>
                    <a:pt x="142404" y="72124"/>
                  </a:lnTo>
                  <a:close/>
                </a:path>
              </a:pathLst>
            </a:custGeom>
            <a:solidFill>
              <a:srgbClr val="FFCDBF"/>
            </a:solidFill>
            <a:ln w="9525" cap="flat">
              <a:noFill/>
              <a:prstDash val="solid"/>
              <a:miter/>
            </a:ln>
          </p:spPr>
          <p:txBody>
            <a:bodyPr rtlCol="0" anchor="ctr"/>
            <a:lstStyle/>
            <a:p>
              <a:endParaRPr lang="en-US" sz="1568"/>
            </a:p>
          </p:txBody>
        </p:sp>
        <p:sp>
          <p:nvSpPr>
            <p:cNvPr id="38" name="Freeform: Shape 37">
              <a:extLst>
                <a:ext uri="{FF2B5EF4-FFF2-40B4-BE49-F238E27FC236}">
                  <a16:creationId xmlns:a16="http://schemas.microsoft.com/office/drawing/2014/main" id="{5A0B201A-424C-4A80-A1AE-5C09F19930DD}"/>
                </a:ext>
              </a:extLst>
            </p:cNvPr>
            <p:cNvSpPr/>
            <p:nvPr/>
          </p:nvSpPr>
          <p:spPr>
            <a:xfrm>
              <a:off x="5579806" y="4999336"/>
              <a:ext cx="233449" cy="149899"/>
            </a:xfrm>
            <a:custGeom>
              <a:avLst/>
              <a:gdLst>
                <a:gd name="connsiteX0" fmla="*/ 156411 w 233449"/>
                <a:gd name="connsiteY0" fmla="*/ 1843 h 149899"/>
                <a:gd name="connsiteX1" fmla="*/ 77038 w 233449"/>
                <a:gd name="connsiteY1" fmla="*/ 1843 h 149899"/>
                <a:gd name="connsiteX2" fmla="*/ 1843 w 233449"/>
                <a:gd name="connsiteY2" fmla="*/ 77038 h 149899"/>
                <a:gd name="connsiteX3" fmla="*/ 1843 w 233449"/>
                <a:gd name="connsiteY3" fmla="*/ 135769 h 149899"/>
                <a:gd name="connsiteX4" fmla="*/ 14621 w 233449"/>
                <a:gd name="connsiteY4" fmla="*/ 148548 h 149899"/>
                <a:gd name="connsiteX5" fmla="*/ 218828 w 233449"/>
                <a:gd name="connsiteY5" fmla="*/ 148548 h 149899"/>
                <a:gd name="connsiteX6" fmla="*/ 231606 w 233449"/>
                <a:gd name="connsiteY6" fmla="*/ 135769 h 149899"/>
                <a:gd name="connsiteX7" fmla="*/ 231606 w 233449"/>
                <a:gd name="connsiteY7" fmla="*/ 77038 h 149899"/>
                <a:gd name="connsiteX8" fmla="*/ 156411 w 233449"/>
                <a:gd name="connsiteY8" fmla="*/ 1843 h 149899"/>
                <a:gd name="connsiteX9" fmla="*/ 156411 w 233449"/>
                <a:gd name="connsiteY9" fmla="*/ 1843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3449" h="149899">
                  <a:moveTo>
                    <a:pt x="156411" y="1843"/>
                  </a:moveTo>
                  <a:lnTo>
                    <a:pt x="77038" y="1843"/>
                  </a:lnTo>
                  <a:cubicBezTo>
                    <a:pt x="35755" y="1843"/>
                    <a:pt x="1843" y="35755"/>
                    <a:pt x="1843" y="77038"/>
                  </a:cubicBezTo>
                  <a:lnTo>
                    <a:pt x="1843" y="135769"/>
                  </a:lnTo>
                  <a:cubicBezTo>
                    <a:pt x="1843" y="142896"/>
                    <a:pt x="7495" y="148548"/>
                    <a:pt x="14621" y="148548"/>
                  </a:cubicBezTo>
                  <a:lnTo>
                    <a:pt x="218828" y="148548"/>
                  </a:lnTo>
                  <a:cubicBezTo>
                    <a:pt x="225955" y="148548"/>
                    <a:pt x="231606" y="142896"/>
                    <a:pt x="231606" y="135769"/>
                  </a:cubicBezTo>
                  <a:lnTo>
                    <a:pt x="231606" y="77038"/>
                  </a:lnTo>
                  <a:cubicBezTo>
                    <a:pt x="231606" y="35755"/>
                    <a:pt x="197695" y="1843"/>
                    <a:pt x="156411" y="1843"/>
                  </a:cubicBezTo>
                  <a:lnTo>
                    <a:pt x="156411" y="1843"/>
                  </a:lnTo>
                  <a:close/>
                </a:path>
              </a:pathLst>
            </a:custGeom>
            <a:solidFill>
              <a:srgbClr val="FF6B6B"/>
            </a:solidFill>
            <a:ln w="9525" cap="flat">
              <a:noFill/>
              <a:prstDash val="solid"/>
              <a:miter/>
            </a:ln>
          </p:spPr>
          <p:txBody>
            <a:bodyPr rtlCol="0" anchor="ctr"/>
            <a:lstStyle/>
            <a:p>
              <a:endParaRPr lang="en-US" sz="1568"/>
            </a:p>
          </p:txBody>
        </p:sp>
        <p:sp>
          <p:nvSpPr>
            <p:cNvPr id="39" name="Freeform: Shape 38">
              <a:extLst>
                <a:ext uri="{FF2B5EF4-FFF2-40B4-BE49-F238E27FC236}">
                  <a16:creationId xmlns:a16="http://schemas.microsoft.com/office/drawing/2014/main" id="{C5491C24-617D-477B-986B-8FCA32D74F10}"/>
                </a:ext>
              </a:extLst>
            </p:cNvPr>
            <p:cNvSpPr/>
            <p:nvPr/>
          </p:nvSpPr>
          <p:spPr>
            <a:xfrm>
              <a:off x="5579806" y="4999336"/>
              <a:ext cx="127783" cy="149899"/>
            </a:xfrm>
            <a:custGeom>
              <a:avLst/>
              <a:gdLst>
                <a:gd name="connsiteX0" fmla="*/ 52465 w 127782"/>
                <a:gd name="connsiteY0" fmla="*/ 135769 h 149899"/>
                <a:gd name="connsiteX1" fmla="*/ 52465 w 127782"/>
                <a:gd name="connsiteY1" fmla="*/ 77038 h 149899"/>
                <a:gd name="connsiteX2" fmla="*/ 127660 w 127782"/>
                <a:gd name="connsiteY2" fmla="*/ 1843 h 149899"/>
                <a:gd name="connsiteX3" fmla="*/ 77038 w 127782"/>
                <a:gd name="connsiteY3" fmla="*/ 1843 h 149899"/>
                <a:gd name="connsiteX4" fmla="*/ 1843 w 127782"/>
                <a:gd name="connsiteY4" fmla="*/ 77038 h 149899"/>
                <a:gd name="connsiteX5" fmla="*/ 1843 w 127782"/>
                <a:gd name="connsiteY5" fmla="*/ 135769 h 149899"/>
                <a:gd name="connsiteX6" fmla="*/ 14621 w 127782"/>
                <a:gd name="connsiteY6" fmla="*/ 148548 h 149899"/>
                <a:gd name="connsiteX7" fmla="*/ 65243 w 127782"/>
                <a:gd name="connsiteY7" fmla="*/ 148548 h 149899"/>
                <a:gd name="connsiteX8" fmla="*/ 52465 w 127782"/>
                <a:gd name="connsiteY8" fmla="*/ 135769 h 149899"/>
                <a:gd name="connsiteX9" fmla="*/ 52465 w 127782"/>
                <a:gd name="connsiteY9" fmla="*/ 135769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82" h="149899">
                  <a:moveTo>
                    <a:pt x="52465" y="135769"/>
                  </a:moveTo>
                  <a:lnTo>
                    <a:pt x="52465" y="77038"/>
                  </a:lnTo>
                  <a:cubicBezTo>
                    <a:pt x="52465" y="35755"/>
                    <a:pt x="86376" y="1843"/>
                    <a:pt x="127660" y="1843"/>
                  </a:cubicBezTo>
                  <a:lnTo>
                    <a:pt x="77038" y="1843"/>
                  </a:lnTo>
                  <a:cubicBezTo>
                    <a:pt x="35755" y="1843"/>
                    <a:pt x="1843" y="35755"/>
                    <a:pt x="1843" y="77038"/>
                  </a:cubicBezTo>
                  <a:lnTo>
                    <a:pt x="1843" y="135769"/>
                  </a:lnTo>
                  <a:cubicBezTo>
                    <a:pt x="1843" y="142896"/>
                    <a:pt x="7495" y="148548"/>
                    <a:pt x="14621" y="148548"/>
                  </a:cubicBezTo>
                  <a:lnTo>
                    <a:pt x="65243" y="148548"/>
                  </a:lnTo>
                  <a:cubicBezTo>
                    <a:pt x="58117" y="148548"/>
                    <a:pt x="52465" y="142896"/>
                    <a:pt x="52465" y="135769"/>
                  </a:cubicBezTo>
                  <a:lnTo>
                    <a:pt x="52465" y="135769"/>
                  </a:lnTo>
                  <a:close/>
                </a:path>
              </a:pathLst>
            </a:custGeom>
            <a:solidFill>
              <a:srgbClr val="EE5253"/>
            </a:solidFill>
            <a:ln w="9525" cap="flat">
              <a:noFill/>
              <a:prstDash val="solid"/>
              <a:miter/>
            </a:ln>
          </p:spPr>
          <p:txBody>
            <a:bodyPr rtlCol="0" anchor="ctr"/>
            <a:lstStyle/>
            <a:p>
              <a:endParaRPr lang="en-US" sz="1568"/>
            </a:p>
          </p:txBody>
        </p:sp>
        <p:sp>
          <p:nvSpPr>
            <p:cNvPr id="40" name="Freeform: Shape 39">
              <a:extLst>
                <a:ext uri="{FF2B5EF4-FFF2-40B4-BE49-F238E27FC236}">
                  <a16:creationId xmlns:a16="http://schemas.microsoft.com/office/drawing/2014/main" id="{5C162251-8187-469A-A1B7-8253061A87D7}"/>
                </a:ext>
              </a:extLst>
            </p:cNvPr>
            <p:cNvSpPr/>
            <p:nvPr/>
          </p:nvSpPr>
          <p:spPr>
            <a:xfrm>
              <a:off x="5732900" y="5052907"/>
              <a:ext cx="41775" cy="95837"/>
            </a:xfrm>
            <a:custGeom>
              <a:avLst/>
              <a:gdLst>
                <a:gd name="connsiteX0" fmla="*/ 39686 w 41775"/>
                <a:gd name="connsiteY0" fmla="*/ 20765 h 95837"/>
                <a:gd name="connsiteX1" fmla="*/ 20765 w 41775"/>
                <a:gd name="connsiteY1" fmla="*/ 1843 h 95837"/>
                <a:gd name="connsiteX2" fmla="*/ 1843 w 41775"/>
                <a:gd name="connsiteY2" fmla="*/ 20765 h 95837"/>
                <a:gd name="connsiteX3" fmla="*/ 1843 w 41775"/>
                <a:gd name="connsiteY3" fmla="*/ 94977 h 95837"/>
                <a:gd name="connsiteX4" fmla="*/ 39932 w 41775"/>
                <a:gd name="connsiteY4" fmla="*/ 94977 h 95837"/>
                <a:gd name="connsiteX5" fmla="*/ 39932 w 41775"/>
                <a:gd name="connsiteY5" fmla="*/ 20765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775" h="95837">
                  <a:moveTo>
                    <a:pt x="39686" y="20765"/>
                  </a:moveTo>
                  <a:cubicBezTo>
                    <a:pt x="39686" y="10198"/>
                    <a:pt x="31086" y="1843"/>
                    <a:pt x="20765" y="1843"/>
                  </a:cubicBezTo>
                  <a:cubicBezTo>
                    <a:pt x="10198" y="1843"/>
                    <a:pt x="1843" y="10444"/>
                    <a:pt x="1843" y="20765"/>
                  </a:cubicBezTo>
                  <a:lnTo>
                    <a:pt x="1843" y="94977"/>
                  </a:lnTo>
                  <a:lnTo>
                    <a:pt x="39932" y="94977"/>
                  </a:lnTo>
                  <a:lnTo>
                    <a:pt x="39932" y="20765"/>
                  </a:lnTo>
                  <a:close/>
                </a:path>
              </a:pathLst>
            </a:custGeom>
            <a:solidFill>
              <a:srgbClr val="EE5253"/>
            </a:solidFill>
            <a:ln w="9525" cap="flat">
              <a:noFill/>
              <a:prstDash val="solid"/>
              <a:miter/>
            </a:ln>
          </p:spPr>
          <p:txBody>
            <a:bodyPr rtlCol="0" anchor="ctr"/>
            <a:lstStyle/>
            <a:p>
              <a:endParaRPr lang="en-US" sz="1568"/>
            </a:p>
          </p:txBody>
        </p:sp>
        <p:sp>
          <p:nvSpPr>
            <p:cNvPr id="41" name="Freeform: Shape 40">
              <a:extLst>
                <a:ext uri="{FF2B5EF4-FFF2-40B4-BE49-F238E27FC236}">
                  <a16:creationId xmlns:a16="http://schemas.microsoft.com/office/drawing/2014/main" id="{22701A01-B4FD-4393-A100-0BD705E984B6}"/>
                </a:ext>
              </a:extLst>
            </p:cNvPr>
            <p:cNvSpPr/>
            <p:nvPr/>
          </p:nvSpPr>
          <p:spPr>
            <a:xfrm>
              <a:off x="5618632" y="5052907"/>
              <a:ext cx="39318" cy="95837"/>
            </a:xfrm>
            <a:custGeom>
              <a:avLst/>
              <a:gdLst>
                <a:gd name="connsiteX0" fmla="*/ 39686 w 39317"/>
                <a:gd name="connsiteY0" fmla="*/ 94977 h 95837"/>
                <a:gd name="connsiteX1" fmla="*/ 39686 w 39317"/>
                <a:gd name="connsiteY1" fmla="*/ 20765 h 95837"/>
                <a:gd name="connsiteX2" fmla="*/ 20765 w 39317"/>
                <a:gd name="connsiteY2" fmla="*/ 1843 h 95837"/>
                <a:gd name="connsiteX3" fmla="*/ 1843 w 39317"/>
                <a:gd name="connsiteY3" fmla="*/ 20765 h 95837"/>
                <a:gd name="connsiteX4" fmla="*/ 1843 w 39317"/>
                <a:gd name="connsiteY4" fmla="*/ 94977 h 95837"/>
                <a:gd name="connsiteX5" fmla="*/ 39686 w 39317"/>
                <a:gd name="connsiteY5" fmla="*/ 94977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17" h="95837">
                  <a:moveTo>
                    <a:pt x="39686" y="94977"/>
                  </a:moveTo>
                  <a:lnTo>
                    <a:pt x="39686" y="20765"/>
                  </a:lnTo>
                  <a:cubicBezTo>
                    <a:pt x="39686" y="10198"/>
                    <a:pt x="31086" y="1843"/>
                    <a:pt x="20765" y="1843"/>
                  </a:cubicBezTo>
                  <a:cubicBezTo>
                    <a:pt x="10198" y="1843"/>
                    <a:pt x="1843" y="10444"/>
                    <a:pt x="1843" y="20765"/>
                  </a:cubicBezTo>
                  <a:lnTo>
                    <a:pt x="1843" y="94977"/>
                  </a:lnTo>
                  <a:lnTo>
                    <a:pt x="39686" y="94977"/>
                  </a:lnTo>
                  <a:close/>
                </a:path>
              </a:pathLst>
            </a:custGeom>
            <a:solidFill>
              <a:srgbClr val="EE5253"/>
            </a:solidFill>
            <a:ln w="9525" cap="flat">
              <a:noFill/>
              <a:prstDash val="solid"/>
              <a:miter/>
            </a:ln>
          </p:spPr>
          <p:txBody>
            <a:bodyPr rtlCol="0" anchor="ctr"/>
            <a:lstStyle/>
            <a:p>
              <a:endParaRPr lang="en-US" sz="1568"/>
            </a:p>
          </p:txBody>
        </p:sp>
        <p:sp>
          <p:nvSpPr>
            <p:cNvPr id="42" name="Freeform: Shape 41">
              <a:extLst>
                <a:ext uri="{FF2B5EF4-FFF2-40B4-BE49-F238E27FC236}">
                  <a16:creationId xmlns:a16="http://schemas.microsoft.com/office/drawing/2014/main" id="{61E535D6-5B4C-4C56-809D-244F33C372A4}"/>
                </a:ext>
              </a:extLst>
            </p:cNvPr>
            <p:cNvSpPr/>
            <p:nvPr/>
          </p:nvSpPr>
          <p:spPr>
            <a:xfrm>
              <a:off x="6047688" y="4607387"/>
              <a:ext cx="142527" cy="142527"/>
            </a:xfrm>
            <a:custGeom>
              <a:avLst/>
              <a:gdLst>
                <a:gd name="connsiteX0" fmla="*/ 142404 w 142527"/>
                <a:gd name="connsiteY0" fmla="*/ 72124 h 142527"/>
                <a:gd name="connsiteX1" fmla="*/ 72124 w 142527"/>
                <a:gd name="connsiteY1" fmla="*/ 142404 h 142527"/>
                <a:gd name="connsiteX2" fmla="*/ 1843 w 142527"/>
                <a:gd name="connsiteY2" fmla="*/ 72124 h 142527"/>
                <a:gd name="connsiteX3" fmla="*/ 72124 w 142527"/>
                <a:gd name="connsiteY3" fmla="*/ 1843 h 142527"/>
                <a:gd name="connsiteX4" fmla="*/ 142404 w 142527"/>
                <a:gd name="connsiteY4" fmla="*/ 72124 h 142527"/>
                <a:gd name="connsiteX5" fmla="*/ 142404 w 142527"/>
                <a:gd name="connsiteY5"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527" h="142527">
                  <a:moveTo>
                    <a:pt x="142404" y="72124"/>
                  </a:moveTo>
                  <a:cubicBezTo>
                    <a:pt x="142404" y="110950"/>
                    <a:pt x="110950" y="142404"/>
                    <a:pt x="72124" y="142404"/>
                  </a:cubicBezTo>
                  <a:cubicBezTo>
                    <a:pt x="33297" y="142404"/>
                    <a:pt x="1843" y="110950"/>
                    <a:pt x="1843" y="72124"/>
                  </a:cubicBezTo>
                  <a:cubicBezTo>
                    <a:pt x="2089" y="33297"/>
                    <a:pt x="33543" y="1843"/>
                    <a:pt x="72124" y="1843"/>
                  </a:cubicBezTo>
                  <a:cubicBezTo>
                    <a:pt x="110950" y="1843"/>
                    <a:pt x="142404" y="33297"/>
                    <a:pt x="142404" y="72124"/>
                  </a:cubicBezTo>
                  <a:lnTo>
                    <a:pt x="142404" y="72124"/>
                  </a:lnTo>
                  <a:close/>
                </a:path>
              </a:pathLst>
            </a:custGeom>
            <a:solidFill>
              <a:srgbClr val="FFCDBF"/>
            </a:solidFill>
            <a:ln w="9525" cap="flat">
              <a:noFill/>
              <a:prstDash val="solid"/>
              <a:miter/>
            </a:ln>
          </p:spPr>
          <p:txBody>
            <a:bodyPr rtlCol="0" anchor="ctr"/>
            <a:lstStyle/>
            <a:p>
              <a:endParaRPr lang="en-US" sz="1568"/>
            </a:p>
          </p:txBody>
        </p:sp>
        <p:sp>
          <p:nvSpPr>
            <p:cNvPr id="43" name="Freeform: Shape 42">
              <a:extLst>
                <a:ext uri="{FF2B5EF4-FFF2-40B4-BE49-F238E27FC236}">
                  <a16:creationId xmlns:a16="http://schemas.microsoft.com/office/drawing/2014/main" id="{67297A53-51C5-41D4-99D8-459BFC43300B}"/>
                </a:ext>
              </a:extLst>
            </p:cNvPr>
            <p:cNvSpPr/>
            <p:nvPr/>
          </p:nvSpPr>
          <p:spPr>
            <a:xfrm>
              <a:off x="6003210" y="4747702"/>
              <a:ext cx="230992" cy="149899"/>
            </a:xfrm>
            <a:custGeom>
              <a:avLst/>
              <a:gdLst>
                <a:gd name="connsiteX0" fmla="*/ 156411 w 230992"/>
                <a:gd name="connsiteY0" fmla="*/ 1843 h 149899"/>
                <a:gd name="connsiteX1" fmla="*/ 77038 w 230992"/>
                <a:gd name="connsiteY1" fmla="*/ 1843 h 149899"/>
                <a:gd name="connsiteX2" fmla="*/ 1843 w 230992"/>
                <a:gd name="connsiteY2" fmla="*/ 77038 h 149899"/>
                <a:gd name="connsiteX3" fmla="*/ 1843 w 230992"/>
                <a:gd name="connsiteY3" fmla="*/ 135769 h 149899"/>
                <a:gd name="connsiteX4" fmla="*/ 14621 w 230992"/>
                <a:gd name="connsiteY4" fmla="*/ 148548 h 149899"/>
                <a:gd name="connsiteX5" fmla="*/ 218828 w 230992"/>
                <a:gd name="connsiteY5" fmla="*/ 148548 h 149899"/>
                <a:gd name="connsiteX6" fmla="*/ 231606 w 230992"/>
                <a:gd name="connsiteY6" fmla="*/ 135769 h 149899"/>
                <a:gd name="connsiteX7" fmla="*/ 231606 w 230992"/>
                <a:gd name="connsiteY7" fmla="*/ 77038 h 149899"/>
                <a:gd name="connsiteX8" fmla="*/ 156411 w 230992"/>
                <a:gd name="connsiteY8" fmla="*/ 1843 h 149899"/>
                <a:gd name="connsiteX9" fmla="*/ 156411 w 230992"/>
                <a:gd name="connsiteY9" fmla="*/ 1843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0992" h="149899">
                  <a:moveTo>
                    <a:pt x="156411" y="1843"/>
                  </a:moveTo>
                  <a:lnTo>
                    <a:pt x="77038" y="1843"/>
                  </a:lnTo>
                  <a:cubicBezTo>
                    <a:pt x="35755" y="1843"/>
                    <a:pt x="1843" y="35755"/>
                    <a:pt x="1843" y="77038"/>
                  </a:cubicBezTo>
                  <a:lnTo>
                    <a:pt x="1843" y="135769"/>
                  </a:lnTo>
                  <a:cubicBezTo>
                    <a:pt x="1843" y="142896"/>
                    <a:pt x="7495" y="148548"/>
                    <a:pt x="14621" y="148548"/>
                  </a:cubicBezTo>
                  <a:lnTo>
                    <a:pt x="218828" y="148548"/>
                  </a:lnTo>
                  <a:cubicBezTo>
                    <a:pt x="225955" y="148548"/>
                    <a:pt x="231606" y="142896"/>
                    <a:pt x="231606" y="135769"/>
                  </a:cubicBezTo>
                  <a:lnTo>
                    <a:pt x="231606" y="77038"/>
                  </a:lnTo>
                  <a:cubicBezTo>
                    <a:pt x="231606" y="35755"/>
                    <a:pt x="197695" y="1843"/>
                    <a:pt x="156411" y="1843"/>
                  </a:cubicBezTo>
                  <a:lnTo>
                    <a:pt x="156411" y="1843"/>
                  </a:lnTo>
                  <a:close/>
                </a:path>
              </a:pathLst>
            </a:custGeom>
            <a:solidFill>
              <a:srgbClr val="FF6B6B"/>
            </a:solidFill>
            <a:ln w="9525" cap="flat">
              <a:noFill/>
              <a:prstDash val="solid"/>
              <a:miter/>
            </a:ln>
          </p:spPr>
          <p:txBody>
            <a:bodyPr rtlCol="0" anchor="ctr"/>
            <a:lstStyle/>
            <a:p>
              <a:endParaRPr lang="en-US" sz="1568"/>
            </a:p>
          </p:txBody>
        </p:sp>
        <p:sp>
          <p:nvSpPr>
            <p:cNvPr id="44" name="Freeform: Shape 43">
              <a:extLst>
                <a:ext uri="{FF2B5EF4-FFF2-40B4-BE49-F238E27FC236}">
                  <a16:creationId xmlns:a16="http://schemas.microsoft.com/office/drawing/2014/main" id="{3DCE0592-636E-4759-80FF-C48F5249E0D0}"/>
                </a:ext>
              </a:extLst>
            </p:cNvPr>
            <p:cNvSpPr/>
            <p:nvPr/>
          </p:nvSpPr>
          <p:spPr>
            <a:xfrm>
              <a:off x="6003210" y="4747702"/>
              <a:ext cx="127783" cy="149899"/>
            </a:xfrm>
            <a:custGeom>
              <a:avLst/>
              <a:gdLst>
                <a:gd name="connsiteX0" fmla="*/ 52465 w 127782"/>
                <a:gd name="connsiteY0" fmla="*/ 135769 h 149899"/>
                <a:gd name="connsiteX1" fmla="*/ 52465 w 127782"/>
                <a:gd name="connsiteY1" fmla="*/ 77038 h 149899"/>
                <a:gd name="connsiteX2" fmla="*/ 127660 w 127782"/>
                <a:gd name="connsiteY2" fmla="*/ 1843 h 149899"/>
                <a:gd name="connsiteX3" fmla="*/ 77038 w 127782"/>
                <a:gd name="connsiteY3" fmla="*/ 1843 h 149899"/>
                <a:gd name="connsiteX4" fmla="*/ 1843 w 127782"/>
                <a:gd name="connsiteY4" fmla="*/ 77038 h 149899"/>
                <a:gd name="connsiteX5" fmla="*/ 1843 w 127782"/>
                <a:gd name="connsiteY5" fmla="*/ 135769 h 149899"/>
                <a:gd name="connsiteX6" fmla="*/ 14621 w 127782"/>
                <a:gd name="connsiteY6" fmla="*/ 148548 h 149899"/>
                <a:gd name="connsiteX7" fmla="*/ 65243 w 127782"/>
                <a:gd name="connsiteY7" fmla="*/ 148548 h 149899"/>
                <a:gd name="connsiteX8" fmla="*/ 52465 w 127782"/>
                <a:gd name="connsiteY8" fmla="*/ 135769 h 149899"/>
                <a:gd name="connsiteX9" fmla="*/ 52465 w 127782"/>
                <a:gd name="connsiteY9" fmla="*/ 135769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82" h="149899">
                  <a:moveTo>
                    <a:pt x="52465" y="135769"/>
                  </a:moveTo>
                  <a:lnTo>
                    <a:pt x="52465" y="77038"/>
                  </a:lnTo>
                  <a:cubicBezTo>
                    <a:pt x="52465" y="35755"/>
                    <a:pt x="86376" y="1843"/>
                    <a:pt x="127660" y="1843"/>
                  </a:cubicBezTo>
                  <a:lnTo>
                    <a:pt x="77038" y="1843"/>
                  </a:lnTo>
                  <a:cubicBezTo>
                    <a:pt x="35755" y="1843"/>
                    <a:pt x="1843" y="35755"/>
                    <a:pt x="1843" y="77038"/>
                  </a:cubicBezTo>
                  <a:lnTo>
                    <a:pt x="1843" y="135769"/>
                  </a:lnTo>
                  <a:cubicBezTo>
                    <a:pt x="1843" y="142896"/>
                    <a:pt x="7495" y="148548"/>
                    <a:pt x="14621" y="148548"/>
                  </a:cubicBezTo>
                  <a:lnTo>
                    <a:pt x="65243" y="148548"/>
                  </a:lnTo>
                  <a:cubicBezTo>
                    <a:pt x="58117" y="148548"/>
                    <a:pt x="52465" y="142896"/>
                    <a:pt x="52465" y="135769"/>
                  </a:cubicBezTo>
                  <a:lnTo>
                    <a:pt x="52465" y="135769"/>
                  </a:lnTo>
                  <a:close/>
                </a:path>
              </a:pathLst>
            </a:custGeom>
            <a:solidFill>
              <a:srgbClr val="EE5253"/>
            </a:solidFill>
            <a:ln w="9525" cap="flat">
              <a:noFill/>
              <a:prstDash val="solid"/>
              <a:miter/>
            </a:ln>
          </p:spPr>
          <p:txBody>
            <a:bodyPr rtlCol="0" anchor="ctr"/>
            <a:lstStyle/>
            <a:p>
              <a:endParaRPr lang="en-US" sz="1568"/>
            </a:p>
          </p:txBody>
        </p:sp>
        <p:sp>
          <p:nvSpPr>
            <p:cNvPr id="45" name="Freeform: Shape 44">
              <a:extLst>
                <a:ext uri="{FF2B5EF4-FFF2-40B4-BE49-F238E27FC236}">
                  <a16:creationId xmlns:a16="http://schemas.microsoft.com/office/drawing/2014/main" id="{DDF0989F-4E91-413F-B2FB-C0AC23662E97}"/>
                </a:ext>
              </a:extLst>
            </p:cNvPr>
            <p:cNvSpPr/>
            <p:nvPr/>
          </p:nvSpPr>
          <p:spPr>
            <a:xfrm>
              <a:off x="6156303" y="4801273"/>
              <a:ext cx="39318" cy="95837"/>
            </a:xfrm>
            <a:custGeom>
              <a:avLst/>
              <a:gdLst>
                <a:gd name="connsiteX0" fmla="*/ 39686 w 39317"/>
                <a:gd name="connsiteY0" fmla="*/ 20765 h 95837"/>
                <a:gd name="connsiteX1" fmla="*/ 20765 w 39317"/>
                <a:gd name="connsiteY1" fmla="*/ 1843 h 95837"/>
                <a:gd name="connsiteX2" fmla="*/ 1843 w 39317"/>
                <a:gd name="connsiteY2" fmla="*/ 20765 h 95837"/>
                <a:gd name="connsiteX3" fmla="*/ 1843 w 39317"/>
                <a:gd name="connsiteY3" fmla="*/ 94977 h 95837"/>
                <a:gd name="connsiteX4" fmla="*/ 39686 w 39317"/>
                <a:gd name="connsiteY4" fmla="*/ 94977 h 95837"/>
                <a:gd name="connsiteX5" fmla="*/ 39686 w 39317"/>
                <a:gd name="connsiteY5" fmla="*/ 20765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17" h="95837">
                  <a:moveTo>
                    <a:pt x="39686" y="20765"/>
                  </a:moveTo>
                  <a:cubicBezTo>
                    <a:pt x="39686" y="10198"/>
                    <a:pt x="31086" y="1843"/>
                    <a:pt x="20765" y="1843"/>
                  </a:cubicBezTo>
                  <a:cubicBezTo>
                    <a:pt x="10198" y="1843"/>
                    <a:pt x="1843" y="10444"/>
                    <a:pt x="1843" y="20765"/>
                  </a:cubicBezTo>
                  <a:lnTo>
                    <a:pt x="1843" y="94977"/>
                  </a:lnTo>
                  <a:lnTo>
                    <a:pt x="39686" y="94977"/>
                  </a:lnTo>
                  <a:lnTo>
                    <a:pt x="39686" y="20765"/>
                  </a:lnTo>
                  <a:close/>
                </a:path>
              </a:pathLst>
            </a:custGeom>
            <a:solidFill>
              <a:srgbClr val="EE5253"/>
            </a:solidFill>
            <a:ln w="9525" cap="flat">
              <a:noFill/>
              <a:prstDash val="solid"/>
              <a:miter/>
            </a:ln>
          </p:spPr>
          <p:txBody>
            <a:bodyPr rtlCol="0" anchor="ctr"/>
            <a:lstStyle/>
            <a:p>
              <a:endParaRPr lang="en-US" sz="1568"/>
            </a:p>
          </p:txBody>
        </p:sp>
        <p:sp>
          <p:nvSpPr>
            <p:cNvPr id="46" name="Freeform: Shape 45">
              <a:extLst>
                <a:ext uri="{FF2B5EF4-FFF2-40B4-BE49-F238E27FC236}">
                  <a16:creationId xmlns:a16="http://schemas.microsoft.com/office/drawing/2014/main" id="{9C21A9D9-6A41-47E5-BEAB-688953FF2527}"/>
                </a:ext>
              </a:extLst>
            </p:cNvPr>
            <p:cNvSpPr/>
            <p:nvPr/>
          </p:nvSpPr>
          <p:spPr>
            <a:xfrm>
              <a:off x="6042036" y="4801273"/>
              <a:ext cx="39318" cy="95837"/>
            </a:xfrm>
            <a:custGeom>
              <a:avLst/>
              <a:gdLst>
                <a:gd name="connsiteX0" fmla="*/ 39686 w 39317"/>
                <a:gd name="connsiteY0" fmla="*/ 94977 h 95837"/>
                <a:gd name="connsiteX1" fmla="*/ 39686 w 39317"/>
                <a:gd name="connsiteY1" fmla="*/ 20765 h 95837"/>
                <a:gd name="connsiteX2" fmla="*/ 20765 w 39317"/>
                <a:gd name="connsiteY2" fmla="*/ 1843 h 95837"/>
                <a:gd name="connsiteX3" fmla="*/ 1843 w 39317"/>
                <a:gd name="connsiteY3" fmla="*/ 20765 h 95837"/>
                <a:gd name="connsiteX4" fmla="*/ 1843 w 39317"/>
                <a:gd name="connsiteY4" fmla="*/ 94977 h 95837"/>
                <a:gd name="connsiteX5" fmla="*/ 39686 w 39317"/>
                <a:gd name="connsiteY5" fmla="*/ 94977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17" h="95837">
                  <a:moveTo>
                    <a:pt x="39686" y="94977"/>
                  </a:moveTo>
                  <a:lnTo>
                    <a:pt x="39686" y="20765"/>
                  </a:lnTo>
                  <a:cubicBezTo>
                    <a:pt x="39686" y="10198"/>
                    <a:pt x="31086" y="1843"/>
                    <a:pt x="20765" y="1843"/>
                  </a:cubicBezTo>
                  <a:cubicBezTo>
                    <a:pt x="10198" y="1843"/>
                    <a:pt x="1843" y="10444"/>
                    <a:pt x="1843" y="20765"/>
                  </a:cubicBezTo>
                  <a:lnTo>
                    <a:pt x="1843" y="94977"/>
                  </a:lnTo>
                  <a:lnTo>
                    <a:pt x="39686" y="94977"/>
                  </a:lnTo>
                  <a:close/>
                </a:path>
              </a:pathLst>
            </a:custGeom>
            <a:solidFill>
              <a:srgbClr val="EE5253"/>
            </a:solidFill>
            <a:ln w="9525" cap="flat">
              <a:noFill/>
              <a:prstDash val="solid"/>
              <a:miter/>
            </a:ln>
          </p:spPr>
          <p:txBody>
            <a:bodyPr rtlCol="0" anchor="ctr"/>
            <a:lstStyle/>
            <a:p>
              <a:endParaRPr lang="en-US" sz="1568"/>
            </a:p>
          </p:txBody>
        </p:sp>
        <p:sp>
          <p:nvSpPr>
            <p:cNvPr id="47" name="Freeform: Shape 46">
              <a:extLst>
                <a:ext uri="{FF2B5EF4-FFF2-40B4-BE49-F238E27FC236}">
                  <a16:creationId xmlns:a16="http://schemas.microsoft.com/office/drawing/2014/main" id="{88A7973F-071D-4C53-897F-801FD18D71D6}"/>
                </a:ext>
              </a:extLst>
            </p:cNvPr>
            <p:cNvSpPr/>
            <p:nvPr/>
          </p:nvSpPr>
          <p:spPr>
            <a:xfrm>
              <a:off x="6047688" y="5578291"/>
              <a:ext cx="142527" cy="142527"/>
            </a:xfrm>
            <a:custGeom>
              <a:avLst/>
              <a:gdLst>
                <a:gd name="connsiteX0" fmla="*/ 142404 w 142527"/>
                <a:gd name="connsiteY0" fmla="*/ 72124 h 142527"/>
                <a:gd name="connsiteX1" fmla="*/ 72124 w 142527"/>
                <a:gd name="connsiteY1" fmla="*/ 142404 h 142527"/>
                <a:gd name="connsiteX2" fmla="*/ 1843 w 142527"/>
                <a:gd name="connsiteY2" fmla="*/ 72124 h 142527"/>
                <a:gd name="connsiteX3" fmla="*/ 72124 w 142527"/>
                <a:gd name="connsiteY3" fmla="*/ 1843 h 142527"/>
                <a:gd name="connsiteX4" fmla="*/ 142404 w 142527"/>
                <a:gd name="connsiteY4" fmla="*/ 72124 h 142527"/>
                <a:gd name="connsiteX5" fmla="*/ 142404 w 142527"/>
                <a:gd name="connsiteY5"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527" h="142527">
                  <a:moveTo>
                    <a:pt x="142404" y="72124"/>
                  </a:moveTo>
                  <a:cubicBezTo>
                    <a:pt x="142404" y="110950"/>
                    <a:pt x="110950" y="142404"/>
                    <a:pt x="72124" y="142404"/>
                  </a:cubicBezTo>
                  <a:cubicBezTo>
                    <a:pt x="33297" y="142404"/>
                    <a:pt x="1843" y="110950"/>
                    <a:pt x="1843" y="72124"/>
                  </a:cubicBezTo>
                  <a:cubicBezTo>
                    <a:pt x="1843" y="33297"/>
                    <a:pt x="33297" y="1843"/>
                    <a:pt x="72124" y="1843"/>
                  </a:cubicBezTo>
                  <a:cubicBezTo>
                    <a:pt x="110950" y="2089"/>
                    <a:pt x="142404" y="33297"/>
                    <a:pt x="142404" y="72124"/>
                  </a:cubicBezTo>
                  <a:lnTo>
                    <a:pt x="142404" y="72124"/>
                  </a:lnTo>
                  <a:close/>
                </a:path>
              </a:pathLst>
            </a:custGeom>
            <a:solidFill>
              <a:srgbClr val="FFCDBF"/>
            </a:solidFill>
            <a:ln w="9525" cap="flat">
              <a:noFill/>
              <a:prstDash val="solid"/>
              <a:miter/>
            </a:ln>
          </p:spPr>
          <p:txBody>
            <a:bodyPr rtlCol="0" anchor="ctr"/>
            <a:lstStyle/>
            <a:p>
              <a:endParaRPr lang="en-US" sz="1568"/>
            </a:p>
          </p:txBody>
        </p:sp>
        <p:sp>
          <p:nvSpPr>
            <p:cNvPr id="48" name="Freeform: Shape 47">
              <a:extLst>
                <a:ext uri="{FF2B5EF4-FFF2-40B4-BE49-F238E27FC236}">
                  <a16:creationId xmlns:a16="http://schemas.microsoft.com/office/drawing/2014/main" id="{0A24BE93-A636-46F3-98E0-558684B67C48}"/>
                </a:ext>
              </a:extLst>
            </p:cNvPr>
            <p:cNvSpPr/>
            <p:nvPr/>
          </p:nvSpPr>
          <p:spPr>
            <a:xfrm>
              <a:off x="6047688" y="5066422"/>
              <a:ext cx="110581" cy="142527"/>
            </a:xfrm>
            <a:custGeom>
              <a:avLst/>
              <a:gdLst>
                <a:gd name="connsiteX0" fmla="*/ 78021 w 110581"/>
                <a:gd name="connsiteY0" fmla="*/ 72124 h 142527"/>
                <a:gd name="connsiteX1" fmla="*/ 110213 w 110581"/>
                <a:gd name="connsiteY1" fmla="*/ 13147 h 142527"/>
                <a:gd name="connsiteX2" fmla="*/ 72124 w 110581"/>
                <a:gd name="connsiteY2" fmla="*/ 1843 h 142527"/>
                <a:gd name="connsiteX3" fmla="*/ 1843 w 110581"/>
                <a:gd name="connsiteY3" fmla="*/ 72124 h 142527"/>
                <a:gd name="connsiteX4" fmla="*/ 72124 w 110581"/>
                <a:gd name="connsiteY4" fmla="*/ 142404 h 142527"/>
                <a:gd name="connsiteX5" fmla="*/ 110213 w 110581"/>
                <a:gd name="connsiteY5" fmla="*/ 131100 h 142527"/>
                <a:gd name="connsiteX6" fmla="*/ 78021 w 110581"/>
                <a:gd name="connsiteY6" fmla="*/ 72124 h 142527"/>
                <a:gd name="connsiteX7" fmla="*/ 78021 w 110581"/>
                <a:gd name="connsiteY7"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581" h="142527">
                  <a:moveTo>
                    <a:pt x="78021" y="72124"/>
                  </a:moveTo>
                  <a:cubicBezTo>
                    <a:pt x="78021" y="47304"/>
                    <a:pt x="90800" y="25679"/>
                    <a:pt x="110213" y="13147"/>
                  </a:cubicBezTo>
                  <a:cubicBezTo>
                    <a:pt x="99155" y="6021"/>
                    <a:pt x="86131" y="1843"/>
                    <a:pt x="72124" y="1843"/>
                  </a:cubicBezTo>
                  <a:cubicBezTo>
                    <a:pt x="33297" y="1843"/>
                    <a:pt x="1843" y="33297"/>
                    <a:pt x="1843" y="72124"/>
                  </a:cubicBezTo>
                  <a:cubicBezTo>
                    <a:pt x="1843" y="110950"/>
                    <a:pt x="33297" y="142404"/>
                    <a:pt x="72124" y="142404"/>
                  </a:cubicBezTo>
                  <a:cubicBezTo>
                    <a:pt x="86131" y="142404"/>
                    <a:pt x="99155" y="138227"/>
                    <a:pt x="110213" y="131100"/>
                  </a:cubicBezTo>
                  <a:cubicBezTo>
                    <a:pt x="90800" y="118568"/>
                    <a:pt x="78021" y="96943"/>
                    <a:pt x="78021" y="72124"/>
                  </a:cubicBezTo>
                  <a:lnTo>
                    <a:pt x="78021" y="72124"/>
                  </a:lnTo>
                  <a:close/>
                </a:path>
              </a:pathLst>
            </a:custGeom>
            <a:solidFill>
              <a:srgbClr val="FFBEAB"/>
            </a:solidFill>
            <a:ln w="9525" cap="flat">
              <a:noFill/>
              <a:prstDash val="solid"/>
              <a:miter/>
            </a:ln>
          </p:spPr>
          <p:txBody>
            <a:bodyPr rtlCol="0" anchor="ctr"/>
            <a:lstStyle/>
            <a:p>
              <a:endParaRPr lang="en-US" sz="1568"/>
            </a:p>
          </p:txBody>
        </p:sp>
        <p:sp>
          <p:nvSpPr>
            <p:cNvPr id="49" name="Freeform: Shape 48">
              <a:extLst>
                <a:ext uri="{FF2B5EF4-FFF2-40B4-BE49-F238E27FC236}">
                  <a16:creationId xmlns:a16="http://schemas.microsoft.com/office/drawing/2014/main" id="{2C409102-D257-4376-B712-F4600CE937D3}"/>
                </a:ext>
              </a:extLst>
            </p:cNvPr>
            <p:cNvSpPr/>
            <p:nvPr/>
          </p:nvSpPr>
          <p:spPr>
            <a:xfrm>
              <a:off x="6471092" y="5300609"/>
              <a:ext cx="110581" cy="142527"/>
            </a:xfrm>
            <a:custGeom>
              <a:avLst/>
              <a:gdLst>
                <a:gd name="connsiteX0" fmla="*/ 78021 w 110581"/>
                <a:gd name="connsiteY0" fmla="*/ 72124 h 142527"/>
                <a:gd name="connsiteX1" fmla="*/ 110213 w 110581"/>
                <a:gd name="connsiteY1" fmla="*/ 13147 h 142527"/>
                <a:gd name="connsiteX2" fmla="*/ 72124 w 110581"/>
                <a:gd name="connsiteY2" fmla="*/ 1843 h 142527"/>
                <a:gd name="connsiteX3" fmla="*/ 1843 w 110581"/>
                <a:gd name="connsiteY3" fmla="*/ 72124 h 142527"/>
                <a:gd name="connsiteX4" fmla="*/ 72124 w 110581"/>
                <a:gd name="connsiteY4" fmla="*/ 142158 h 142527"/>
                <a:gd name="connsiteX5" fmla="*/ 110213 w 110581"/>
                <a:gd name="connsiteY5" fmla="*/ 130855 h 142527"/>
                <a:gd name="connsiteX6" fmla="*/ 78021 w 110581"/>
                <a:gd name="connsiteY6" fmla="*/ 72124 h 142527"/>
                <a:gd name="connsiteX7" fmla="*/ 78021 w 110581"/>
                <a:gd name="connsiteY7"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581" h="142527">
                  <a:moveTo>
                    <a:pt x="78021" y="72124"/>
                  </a:moveTo>
                  <a:cubicBezTo>
                    <a:pt x="78021" y="47304"/>
                    <a:pt x="90800" y="25679"/>
                    <a:pt x="110213" y="13147"/>
                  </a:cubicBezTo>
                  <a:cubicBezTo>
                    <a:pt x="99155" y="6020"/>
                    <a:pt x="86131" y="1843"/>
                    <a:pt x="72124" y="1843"/>
                  </a:cubicBezTo>
                  <a:cubicBezTo>
                    <a:pt x="33297" y="1843"/>
                    <a:pt x="1843" y="33297"/>
                    <a:pt x="1843" y="72124"/>
                  </a:cubicBezTo>
                  <a:cubicBezTo>
                    <a:pt x="1843" y="110950"/>
                    <a:pt x="33297" y="142158"/>
                    <a:pt x="72124" y="142158"/>
                  </a:cubicBezTo>
                  <a:cubicBezTo>
                    <a:pt x="86131" y="142158"/>
                    <a:pt x="99155" y="137981"/>
                    <a:pt x="110213" y="130855"/>
                  </a:cubicBezTo>
                  <a:cubicBezTo>
                    <a:pt x="90800" y="118568"/>
                    <a:pt x="78021" y="96943"/>
                    <a:pt x="78021" y="72124"/>
                  </a:cubicBezTo>
                  <a:lnTo>
                    <a:pt x="78021" y="72124"/>
                  </a:lnTo>
                  <a:close/>
                </a:path>
              </a:pathLst>
            </a:custGeom>
            <a:solidFill>
              <a:srgbClr val="FFBEAB"/>
            </a:solidFill>
            <a:ln w="9525" cap="flat">
              <a:noFill/>
              <a:prstDash val="solid"/>
              <a:miter/>
            </a:ln>
          </p:spPr>
          <p:txBody>
            <a:bodyPr rtlCol="0" anchor="ctr"/>
            <a:lstStyle/>
            <a:p>
              <a:endParaRPr lang="en-US" sz="1568"/>
            </a:p>
          </p:txBody>
        </p:sp>
        <p:sp>
          <p:nvSpPr>
            <p:cNvPr id="50" name="Freeform: Shape 49">
              <a:extLst>
                <a:ext uri="{FF2B5EF4-FFF2-40B4-BE49-F238E27FC236}">
                  <a16:creationId xmlns:a16="http://schemas.microsoft.com/office/drawing/2014/main" id="{650078AC-1531-43ED-9F3E-FC49D5FF95D7}"/>
                </a:ext>
              </a:extLst>
            </p:cNvPr>
            <p:cNvSpPr/>
            <p:nvPr/>
          </p:nvSpPr>
          <p:spPr>
            <a:xfrm>
              <a:off x="5624530" y="5300609"/>
              <a:ext cx="110581" cy="142527"/>
            </a:xfrm>
            <a:custGeom>
              <a:avLst/>
              <a:gdLst>
                <a:gd name="connsiteX0" fmla="*/ 78021 w 110581"/>
                <a:gd name="connsiteY0" fmla="*/ 72124 h 142527"/>
                <a:gd name="connsiteX1" fmla="*/ 110213 w 110581"/>
                <a:gd name="connsiteY1" fmla="*/ 13147 h 142527"/>
                <a:gd name="connsiteX2" fmla="*/ 72124 w 110581"/>
                <a:gd name="connsiteY2" fmla="*/ 1843 h 142527"/>
                <a:gd name="connsiteX3" fmla="*/ 1843 w 110581"/>
                <a:gd name="connsiteY3" fmla="*/ 72124 h 142527"/>
                <a:gd name="connsiteX4" fmla="*/ 72124 w 110581"/>
                <a:gd name="connsiteY4" fmla="*/ 142158 h 142527"/>
                <a:gd name="connsiteX5" fmla="*/ 110213 w 110581"/>
                <a:gd name="connsiteY5" fmla="*/ 130855 h 142527"/>
                <a:gd name="connsiteX6" fmla="*/ 78021 w 110581"/>
                <a:gd name="connsiteY6" fmla="*/ 72124 h 142527"/>
                <a:gd name="connsiteX7" fmla="*/ 78021 w 110581"/>
                <a:gd name="connsiteY7"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581" h="142527">
                  <a:moveTo>
                    <a:pt x="78021" y="72124"/>
                  </a:moveTo>
                  <a:cubicBezTo>
                    <a:pt x="78021" y="47304"/>
                    <a:pt x="90800" y="25679"/>
                    <a:pt x="110213" y="13147"/>
                  </a:cubicBezTo>
                  <a:cubicBezTo>
                    <a:pt x="99155" y="6020"/>
                    <a:pt x="86131" y="1843"/>
                    <a:pt x="72124" y="1843"/>
                  </a:cubicBezTo>
                  <a:cubicBezTo>
                    <a:pt x="33297" y="1843"/>
                    <a:pt x="1843" y="33297"/>
                    <a:pt x="1843" y="72124"/>
                  </a:cubicBezTo>
                  <a:cubicBezTo>
                    <a:pt x="1843" y="110950"/>
                    <a:pt x="33297" y="142158"/>
                    <a:pt x="72124" y="142158"/>
                  </a:cubicBezTo>
                  <a:cubicBezTo>
                    <a:pt x="86131" y="142158"/>
                    <a:pt x="99155" y="137981"/>
                    <a:pt x="110213" y="130855"/>
                  </a:cubicBezTo>
                  <a:cubicBezTo>
                    <a:pt x="90800" y="118568"/>
                    <a:pt x="78021" y="96943"/>
                    <a:pt x="78021" y="72124"/>
                  </a:cubicBezTo>
                  <a:lnTo>
                    <a:pt x="78021" y="72124"/>
                  </a:lnTo>
                  <a:close/>
                </a:path>
              </a:pathLst>
            </a:custGeom>
            <a:solidFill>
              <a:srgbClr val="FFBEAB"/>
            </a:solidFill>
            <a:ln w="9525" cap="flat">
              <a:noFill/>
              <a:prstDash val="solid"/>
              <a:miter/>
            </a:ln>
          </p:spPr>
          <p:txBody>
            <a:bodyPr rtlCol="0" anchor="ctr"/>
            <a:lstStyle/>
            <a:p>
              <a:endParaRPr lang="en-US" sz="1568"/>
            </a:p>
          </p:txBody>
        </p:sp>
        <p:sp>
          <p:nvSpPr>
            <p:cNvPr id="51" name="Freeform: Shape 50">
              <a:extLst>
                <a:ext uri="{FF2B5EF4-FFF2-40B4-BE49-F238E27FC236}">
                  <a16:creationId xmlns:a16="http://schemas.microsoft.com/office/drawing/2014/main" id="{DC1B47EB-611D-4855-96EC-BCF868505B8A}"/>
                </a:ext>
              </a:extLst>
            </p:cNvPr>
            <p:cNvSpPr/>
            <p:nvPr/>
          </p:nvSpPr>
          <p:spPr>
            <a:xfrm>
              <a:off x="6471092" y="4858775"/>
              <a:ext cx="110581" cy="142527"/>
            </a:xfrm>
            <a:custGeom>
              <a:avLst/>
              <a:gdLst>
                <a:gd name="connsiteX0" fmla="*/ 78021 w 110581"/>
                <a:gd name="connsiteY0" fmla="*/ 72124 h 142527"/>
                <a:gd name="connsiteX1" fmla="*/ 110213 w 110581"/>
                <a:gd name="connsiteY1" fmla="*/ 13147 h 142527"/>
                <a:gd name="connsiteX2" fmla="*/ 72124 w 110581"/>
                <a:gd name="connsiteY2" fmla="*/ 1843 h 142527"/>
                <a:gd name="connsiteX3" fmla="*/ 1843 w 110581"/>
                <a:gd name="connsiteY3" fmla="*/ 72124 h 142527"/>
                <a:gd name="connsiteX4" fmla="*/ 72124 w 110581"/>
                <a:gd name="connsiteY4" fmla="*/ 142404 h 142527"/>
                <a:gd name="connsiteX5" fmla="*/ 110213 w 110581"/>
                <a:gd name="connsiteY5" fmla="*/ 131100 h 142527"/>
                <a:gd name="connsiteX6" fmla="*/ 78021 w 110581"/>
                <a:gd name="connsiteY6" fmla="*/ 72124 h 142527"/>
                <a:gd name="connsiteX7" fmla="*/ 78021 w 110581"/>
                <a:gd name="connsiteY7"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581" h="142527">
                  <a:moveTo>
                    <a:pt x="78021" y="72124"/>
                  </a:moveTo>
                  <a:cubicBezTo>
                    <a:pt x="78021" y="47304"/>
                    <a:pt x="90800" y="25679"/>
                    <a:pt x="110213" y="13147"/>
                  </a:cubicBezTo>
                  <a:cubicBezTo>
                    <a:pt x="99155" y="6021"/>
                    <a:pt x="86131" y="1843"/>
                    <a:pt x="72124" y="1843"/>
                  </a:cubicBezTo>
                  <a:cubicBezTo>
                    <a:pt x="33297" y="1843"/>
                    <a:pt x="1843" y="33297"/>
                    <a:pt x="1843" y="72124"/>
                  </a:cubicBezTo>
                  <a:cubicBezTo>
                    <a:pt x="1843" y="110950"/>
                    <a:pt x="33297" y="142404"/>
                    <a:pt x="72124" y="142404"/>
                  </a:cubicBezTo>
                  <a:cubicBezTo>
                    <a:pt x="86131" y="142404"/>
                    <a:pt x="99155" y="138227"/>
                    <a:pt x="110213" y="131100"/>
                  </a:cubicBezTo>
                  <a:cubicBezTo>
                    <a:pt x="90800" y="118568"/>
                    <a:pt x="78021" y="96943"/>
                    <a:pt x="78021" y="72124"/>
                  </a:cubicBezTo>
                  <a:lnTo>
                    <a:pt x="78021" y="72124"/>
                  </a:lnTo>
                  <a:close/>
                </a:path>
              </a:pathLst>
            </a:custGeom>
            <a:solidFill>
              <a:srgbClr val="FFBEAB"/>
            </a:solidFill>
            <a:ln w="9525" cap="flat">
              <a:noFill/>
              <a:prstDash val="solid"/>
              <a:miter/>
            </a:ln>
          </p:spPr>
          <p:txBody>
            <a:bodyPr rtlCol="0" anchor="ctr"/>
            <a:lstStyle/>
            <a:p>
              <a:endParaRPr lang="en-US" sz="1568"/>
            </a:p>
          </p:txBody>
        </p:sp>
        <p:sp>
          <p:nvSpPr>
            <p:cNvPr id="52" name="Freeform: Shape 51">
              <a:extLst>
                <a:ext uri="{FF2B5EF4-FFF2-40B4-BE49-F238E27FC236}">
                  <a16:creationId xmlns:a16="http://schemas.microsoft.com/office/drawing/2014/main" id="{451B1027-CDC9-432E-875D-4801A850CD1F}"/>
                </a:ext>
              </a:extLst>
            </p:cNvPr>
            <p:cNvSpPr/>
            <p:nvPr/>
          </p:nvSpPr>
          <p:spPr>
            <a:xfrm>
              <a:off x="5624530" y="4858775"/>
              <a:ext cx="110581" cy="142527"/>
            </a:xfrm>
            <a:custGeom>
              <a:avLst/>
              <a:gdLst>
                <a:gd name="connsiteX0" fmla="*/ 78021 w 110581"/>
                <a:gd name="connsiteY0" fmla="*/ 72124 h 142527"/>
                <a:gd name="connsiteX1" fmla="*/ 110213 w 110581"/>
                <a:gd name="connsiteY1" fmla="*/ 13147 h 142527"/>
                <a:gd name="connsiteX2" fmla="*/ 72124 w 110581"/>
                <a:gd name="connsiteY2" fmla="*/ 1843 h 142527"/>
                <a:gd name="connsiteX3" fmla="*/ 1843 w 110581"/>
                <a:gd name="connsiteY3" fmla="*/ 72124 h 142527"/>
                <a:gd name="connsiteX4" fmla="*/ 72124 w 110581"/>
                <a:gd name="connsiteY4" fmla="*/ 142404 h 142527"/>
                <a:gd name="connsiteX5" fmla="*/ 110213 w 110581"/>
                <a:gd name="connsiteY5" fmla="*/ 131100 h 142527"/>
                <a:gd name="connsiteX6" fmla="*/ 78021 w 110581"/>
                <a:gd name="connsiteY6" fmla="*/ 72124 h 142527"/>
                <a:gd name="connsiteX7" fmla="*/ 78021 w 110581"/>
                <a:gd name="connsiteY7"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581" h="142527">
                  <a:moveTo>
                    <a:pt x="78021" y="72124"/>
                  </a:moveTo>
                  <a:cubicBezTo>
                    <a:pt x="78021" y="47304"/>
                    <a:pt x="90800" y="25679"/>
                    <a:pt x="110213" y="13147"/>
                  </a:cubicBezTo>
                  <a:cubicBezTo>
                    <a:pt x="99155" y="6021"/>
                    <a:pt x="86131" y="1843"/>
                    <a:pt x="72124" y="1843"/>
                  </a:cubicBezTo>
                  <a:cubicBezTo>
                    <a:pt x="33297" y="1843"/>
                    <a:pt x="1843" y="33297"/>
                    <a:pt x="1843" y="72124"/>
                  </a:cubicBezTo>
                  <a:cubicBezTo>
                    <a:pt x="1843" y="110950"/>
                    <a:pt x="33297" y="142404"/>
                    <a:pt x="72124" y="142404"/>
                  </a:cubicBezTo>
                  <a:cubicBezTo>
                    <a:pt x="86131" y="142404"/>
                    <a:pt x="99155" y="138227"/>
                    <a:pt x="110213" y="131100"/>
                  </a:cubicBezTo>
                  <a:cubicBezTo>
                    <a:pt x="90800" y="118568"/>
                    <a:pt x="78021" y="96943"/>
                    <a:pt x="78021" y="72124"/>
                  </a:cubicBezTo>
                  <a:lnTo>
                    <a:pt x="78021" y="72124"/>
                  </a:lnTo>
                  <a:close/>
                </a:path>
              </a:pathLst>
            </a:custGeom>
            <a:solidFill>
              <a:srgbClr val="FFBEAB"/>
            </a:solidFill>
            <a:ln w="9525" cap="flat">
              <a:noFill/>
              <a:prstDash val="solid"/>
              <a:miter/>
            </a:ln>
          </p:spPr>
          <p:txBody>
            <a:bodyPr rtlCol="0" anchor="ctr"/>
            <a:lstStyle/>
            <a:p>
              <a:endParaRPr lang="en-US" sz="1568"/>
            </a:p>
          </p:txBody>
        </p:sp>
        <p:sp>
          <p:nvSpPr>
            <p:cNvPr id="53" name="Freeform: Shape 52">
              <a:extLst>
                <a:ext uri="{FF2B5EF4-FFF2-40B4-BE49-F238E27FC236}">
                  <a16:creationId xmlns:a16="http://schemas.microsoft.com/office/drawing/2014/main" id="{7DF31664-50D1-4BFF-BAA1-02F839E51A76}"/>
                </a:ext>
              </a:extLst>
            </p:cNvPr>
            <p:cNvSpPr/>
            <p:nvPr/>
          </p:nvSpPr>
          <p:spPr>
            <a:xfrm>
              <a:off x="6047688" y="4607387"/>
              <a:ext cx="110581" cy="142527"/>
            </a:xfrm>
            <a:custGeom>
              <a:avLst/>
              <a:gdLst>
                <a:gd name="connsiteX0" fmla="*/ 78021 w 110581"/>
                <a:gd name="connsiteY0" fmla="*/ 72124 h 142527"/>
                <a:gd name="connsiteX1" fmla="*/ 110213 w 110581"/>
                <a:gd name="connsiteY1" fmla="*/ 13147 h 142527"/>
                <a:gd name="connsiteX2" fmla="*/ 72124 w 110581"/>
                <a:gd name="connsiteY2" fmla="*/ 1843 h 142527"/>
                <a:gd name="connsiteX3" fmla="*/ 1843 w 110581"/>
                <a:gd name="connsiteY3" fmla="*/ 72124 h 142527"/>
                <a:gd name="connsiteX4" fmla="*/ 72124 w 110581"/>
                <a:gd name="connsiteY4" fmla="*/ 142404 h 142527"/>
                <a:gd name="connsiteX5" fmla="*/ 110213 w 110581"/>
                <a:gd name="connsiteY5" fmla="*/ 131100 h 142527"/>
                <a:gd name="connsiteX6" fmla="*/ 78021 w 110581"/>
                <a:gd name="connsiteY6" fmla="*/ 72124 h 142527"/>
                <a:gd name="connsiteX7" fmla="*/ 78021 w 110581"/>
                <a:gd name="connsiteY7"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581" h="142527">
                  <a:moveTo>
                    <a:pt x="78021" y="72124"/>
                  </a:moveTo>
                  <a:cubicBezTo>
                    <a:pt x="78021" y="47304"/>
                    <a:pt x="90800" y="25679"/>
                    <a:pt x="110213" y="13147"/>
                  </a:cubicBezTo>
                  <a:cubicBezTo>
                    <a:pt x="99400" y="6021"/>
                    <a:pt x="86131" y="1843"/>
                    <a:pt x="72124" y="1843"/>
                  </a:cubicBezTo>
                  <a:cubicBezTo>
                    <a:pt x="33297" y="1843"/>
                    <a:pt x="1843" y="33297"/>
                    <a:pt x="1843" y="72124"/>
                  </a:cubicBezTo>
                  <a:cubicBezTo>
                    <a:pt x="1843" y="110950"/>
                    <a:pt x="33297" y="142404"/>
                    <a:pt x="72124" y="142404"/>
                  </a:cubicBezTo>
                  <a:cubicBezTo>
                    <a:pt x="86131" y="142404"/>
                    <a:pt x="99155" y="138227"/>
                    <a:pt x="110213" y="131100"/>
                  </a:cubicBezTo>
                  <a:cubicBezTo>
                    <a:pt x="90800" y="118568"/>
                    <a:pt x="78021" y="96697"/>
                    <a:pt x="78021" y="72124"/>
                  </a:cubicBezTo>
                  <a:lnTo>
                    <a:pt x="78021" y="72124"/>
                  </a:lnTo>
                  <a:close/>
                </a:path>
              </a:pathLst>
            </a:custGeom>
            <a:solidFill>
              <a:srgbClr val="FFBEAB"/>
            </a:solidFill>
            <a:ln w="9525" cap="flat">
              <a:noFill/>
              <a:prstDash val="solid"/>
              <a:miter/>
            </a:ln>
          </p:spPr>
          <p:txBody>
            <a:bodyPr rtlCol="0" anchor="ctr"/>
            <a:lstStyle/>
            <a:p>
              <a:endParaRPr lang="en-US" sz="1568"/>
            </a:p>
          </p:txBody>
        </p:sp>
        <p:sp>
          <p:nvSpPr>
            <p:cNvPr id="54" name="Freeform: Shape 53">
              <a:extLst>
                <a:ext uri="{FF2B5EF4-FFF2-40B4-BE49-F238E27FC236}">
                  <a16:creationId xmlns:a16="http://schemas.microsoft.com/office/drawing/2014/main" id="{1C830915-6680-49A6-B25C-64846FA0E2A0}"/>
                </a:ext>
              </a:extLst>
            </p:cNvPr>
            <p:cNvSpPr/>
            <p:nvPr/>
          </p:nvSpPr>
          <p:spPr>
            <a:xfrm>
              <a:off x="6047688" y="5578291"/>
              <a:ext cx="110581" cy="142527"/>
            </a:xfrm>
            <a:custGeom>
              <a:avLst/>
              <a:gdLst>
                <a:gd name="connsiteX0" fmla="*/ 78021 w 110581"/>
                <a:gd name="connsiteY0" fmla="*/ 72124 h 142527"/>
                <a:gd name="connsiteX1" fmla="*/ 110213 w 110581"/>
                <a:gd name="connsiteY1" fmla="*/ 13147 h 142527"/>
                <a:gd name="connsiteX2" fmla="*/ 72124 w 110581"/>
                <a:gd name="connsiteY2" fmla="*/ 1843 h 142527"/>
                <a:gd name="connsiteX3" fmla="*/ 1843 w 110581"/>
                <a:gd name="connsiteY3" fmla="*/ 72124 h 142527"/>
                <a:gd name="connsiteX4" fmla="*/ 72124 w 110581"/>
                <a:gd name="connsiteY4" fmla="*/ 142404 h 142527"/>
                <a:gd name="connsiteX5" fmla="*/ 110213 w 110581"/>
                <a:gd name="connsiteY5" fmla="*/ 131100 h 142527"/>
                <a:gd name="connsiteX6" fmla="*/ 78021 w 110581"/>
                <a:gd name="connsiteY6" fmla="*/ 72124 h 142527"/>
                <a:gd name="connsiteX7" fmla="*/ 78021 w 110581"/>
                <a:gd name="connsiteY7"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581" h="142527">
                  <a:moveTo>
                    <a:pt x="78021" y="72124"/>
                  </a:moveTo>
                  <a:cubicBezTo>
                    <a:pt x="78021" y="47304"/>
                    <a:pt x="90800" y="25679"/>
                    <a:pt x="110213" y="13147"/>
                  </a:cubicBezTo>
                  <a:cubicBezTo>
                    <a:pt x="99155" y="6020"/>
                    <a:pt x="86131" y="1843"/>
                    <a:pt x="72124" y="1843"/>
                  </a:cubicBezTo>
                  <a:cubicBezTo>
                    <a:pt x="33297" y="1843"/>
                    <a:pt x="1843" y="33297"/>
                    <a:pt x="1843" y="72124"/>
                  </a:cubicBezTo>
                  <a:cubicBezTo>
                    <a:pt x="1843" y="110950"/>
                    <a:pt x="33297" y="142404"/>
                    <a:pt x="72124" y="142404"/>
                  </a:cubicBezTo>
                  <a:cubicBezTo>
                    <a:pt x="86131" y="142404"/>
                    <a:pt x="99155" y="138227"/>
                    <a:pt x="110213" y="131100"/>
                  </a:cubicBezTo>
                  <a:cubicBezTo>
                    <a:pt x="90800" y="118568"/>
                    <a:pt x="78021" y="96943"/>
                    <a:pt x="78021" y="72124"/>
                  </a:cubicBezTo>
                  <a:lnTo>
                    <a:pt x="78021" y="72124"/>
                  </a:lnTo>
                  <a:close/>
                </a:path>
              </a:pathLst>
            </a:custGeom>
            <a:solidFill>
              <a:srgbClr val="FFBEAB"/>
            </a:solidFill>
            <a:ln w="9525" cap="flat">
              <a:noFill/>
              <a:prstDash val="solid"/>
              <a:miter/>
            </a:ln>
          </p:spPr>
          <p:txBody>
            <a:bodyPr rtlCol="0" anchor="ctr"/>
            <a:lstStyle/>
            <a:p>
              <a:endParaRPr lang="en-US" sz="1568"/>
            </a:p>
          </p:txBody>
        </p:sp>
        <p:sp>
          <p:nvSpPr>
            <p:cNvPr id="55" name="Freeform: Shape 54">
              <a:extLst>
                <a:ext uri="{FF2B5EF4-FFF2-40B4-BE49-F238E27FC236}">
                  <a16:creationId xmlns:a16="http://schemas.microsoft.com/office/drawing/2014/main" id="{4CC11E15-AEE4-4FDD-80B2-E782DC297951}"/>
                </a:ext>
              </a:extLst>
            </p:cNvPr>
            <p:cNvSpPr/>
            <p:nvPr/>
          </p:nvSpPr>
          <p:spPr>
            <a:xfrm>
              <a:off x="6003210" y="5718852"/>
              <a:ext cx="230992" cy="149899"/>
            </a:xfrm>
            <a:custGeom>
              <a:avLst/>
              <a:gdLst>
                <a:gd name="connsiteX0" fmla="*/ 156411 w 230992"/>
                <a:gd name="connsiteY0" fmla="*/ 1843 h 149899"/>
                <a:gd name="connsiteX1" fmla="*/ 77038 w 230992"/>
                <a:gd name="connsiteY1" fmla="*/ 1843 h 149899"/>
                <a:gd name="connsiteX2" fmla="*/ 1843 w 230992"/>
                <a:gd name="connsiteY2" fmla="*/ 77038 h 149899"/>
                <a:gd name="connsiteX3" fmla="*/ 1843 w 230992"/>
                <a:gd name="connsiteY3" fmla="*/ 135769 h 149899"/>
                <a:gd name="connsiteX4" fmla="*/ 14621 w 230992"/>
                <a:gd name="connsiteY4" fmla="*/ 148548 h 149899"/>
                <a:gd name="connsiteX5" fmla="*/ 218828 w 230992"/>
                <a:gd name="connsiteY5" fmla="*/ 148548 h 149899"/>
                <a:gd name="connsiteX6" fmla="*/ 231606 w 230992"/>
                <a:gd name="connsiteY6" fmla="*/ 135769 h 149899"/>
                <a:gd name="connsiteX7" fmla="*/ 231606 w 230992"/>
                <a:gd name="connsiteY7" fmla="*/ 77038 h 149899"/>
                <a:gd name="connsiteX8" fmla="*/ 156411 w 230992"/>
                <a:gd name="connsiteY8" fmla="*/ 1843 h 149899"/>
                <a:gd name="connsiteX9" fmla="*/ 156411 w 230992"/>
                <a:gd name="connsiteY9" fmla="*/ 1843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0992" h="149899">
                  <a:moveTo>
                    <a:pt x="156411" y="1843"/>
                  </a:moveTo>
                  <a:lnTo>
                    <a:pt x="77038" y="1843"/>
                  </a:lnTo>
                  <a:cubicBezTo>
                    <a:pt x="35755" y="1843"/>
                    <a:pt x="1843" y="35755"/>
                    <a:pt x="1843" y="77038"/>
                  </a:cubicBezTo>
                  <a:lnTo>
                    <a:pt x="1843" y="135769"/>
                  </a:lnTo>
                  <a:cubicBezTo>
                    <a:pt x="1843" y="142896"/>
                    <a:pt x="7495" y="148548"/>
                    <a:pt x="14621" y="148548"/>
                  </a:cubicBezTo>
                  <a:lnTo>
                    <a:pt x="218828" y="148548"/>
                  </a:lnTo>
                  <a:cubicBezTo>
                    <a:pt x="225955" y="148548"/>
                    <a:pt x="231606" y="142896"/>
                    <a:pt x="231606" y="135769"/>
                  </a:cubicBezTo>
                  <a:lnTo>
                    <a:pt x="231606" y="77038"/>
                  </a:lnTo>
                  <a:cubicBezTo>
                    <a:pt x="231606" y="35509"/>
                    <a:pt x="197695" y="1843"/>
                    <a:pt x="156411" y="1843"/>
                  </a:cubicBezTo>
                  <a:lnTo>
                    <a:pt x="156411" y="1843"/>
                  </a:lnTo>
                  <a:close/>
                </a:path>
              </a:pathLst>
            </a:custGeom>
            <a:solidFill>
              <a:srgbClr val="FF6B6B"/>
            </a:solidFill>
            <a:ln w="9525" cap="flat">
              <a:noFill/>
              <a:prstDash val="solid"/>
              <a:miter/>
            </a:ln>
          </p:spPr>
          <p:txBody>
            <a:bodyPr rtlCol="0" anchor="ctr"/>
            <a:lstStyle/>
            <a:p>
              <a:endParaRPr lang="en-US" sz="1568"/>
            </a:p>
          </p:txBody>
        </p:sp>
        <p:sp>
          <p:nvSpPr>
            <p:cNvPr id="56" name="Freeform: Shape 55">
              <a:extLst>
                <a:ext uri="{FF2B5EF4-FFF2-40B4-BE49-F238E27FC236}">
                  <a16:creationId xmlns:a16="http://schemas.microsoft.com/office/drawing/2014/main" id="{5D524179-5955-45AD-84DF-0360BEFD5498}"/>
                </a:ext>
              </a:extLst>
            </p:cNvPr>
            <p:cNvSpPr/>
            <p:nvPr/>
          </p:nvSpPr>
          <p:spPr>
            <a:xfrm>
              <a:off x="6003210" y="5718852"/>
              <a:ext cx="127783" cy="149899"/>
            </a:xfrm>
            <a:custGeom>
              <a:avLst/>
              <a:gdLst>
                <a:gd name="connsiteX0" fmla="*/ 52465 w 127782"/>
                <a:gd name="connsiteY0" fmla="*/ 135769 h 149899"/>
                <a:gd name="connsiteX1" fmla="*/ 52465 w 127782"/>
                <a:gd name="connsiteY1" fmla="*/ 77038 h 149899"/>
                <a:gd name="connsiteX2" fmla="*/ 127660 w 127782"/>
                <a:gd name="connsiteY2" fmla="*/ 1843 h 149899"/>
                <a:gd name="connsiteX3" fmla="*/ 77038 w 127782"/>
                <a:gd name="connsiteY3" fmla="*/ 1843 h 149899"/>
                <a:gd name="connsiteX4" fmla="*/ 1843 w 127782"/>
                <a:gd name="connsiteY4" fmla="*/ 77038 h 149899"/>
                <a:gd name="connsiteX5" fmla="*/ 1843 w 127782"/>
                <a:gd name="connsiteY5" fmla="*/ 135769 h 149899"/>
                <a:gd name="connsiteX6" fmla="*/ 14621 w 127782"/>
                <a:gd name="connsiteY6" fmla="*/ 148548 h 149899"/>
                <a:gd name="connsiteX7" fmla="*/ 65243 w 127782"/>
                <a:gd name="connsiteY7" fmla="*/ 148548 h 149899"/>
                <a:gd name="connsiteX8" fmla="*/ 52465 w 127782"/>
                <a:gd name="connsiteY8" fmla="*/ 135769 h 149899"/>
                <a:gd name="connsiteX9" fmla="*/ 52465 w 127782"/>
                <a:gd name="connsiteY9" fmla="*/ 135769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82" h="149899">
                  <a:moveTo>
                    <a:pt x="52465" y="135769"/>
                  </a:moveTo>
                  <a:lnTo>
                    <a:pt x="52465" y="77038"/>
                  </a:lnTo>
                  <a:cubicBezTo>
                    <a:pt x="52465" y="35755"/>
                    <a:pt x="86376" y="1843"/>
                    <a:pt x="127660" y="1843"/>
                  </a:cubicBezTo>
                  <a:lnTo>
                    <a:pt x="77038" y="1843"/>
                  </a:lnTo>
                  <a:cubicBezTo>
                    <a:pt x="35755" y="1843"/>
                    <a:pt x="1843" y="35755"/>
                    <a:pt x="1843" y="77038"/>
                  </a:cubicBezTo>
                  <a:lnTo>
                    <a:pt x="1843" y="135769"/>
                  </a:lnTo>
                  <a:cubicBezTo>
                    <a:pt x="1843" y="142896"/>
                    <a:pt x="7495" y="148548"/>
                    <a:pt x="14621" y="148548"/>
                  </a:cubicBezTo>
                  <a:lnTo>
                    <a:pt x="65243" y="148548"/>
                  </a:lnTo>
                  <a:cubicBezTo>
                    <a:pt x="58117" y="148548"/>
                    <a:pt x="52465" y="142896"/>
                    <a:pt x="52465" y="135769"/>
                  </a:cubicBezTo>
                  <a:lnTo>
                    <a:pt x="52465" y="135769"/>
                  </a:lnTo>
                  <a:close/>
                </a:path>
              </a:pathLst>
            </a:custGeom>
            <a:solidFill>
              <a:srgbClr val="EE5253"/>
            </a:solidFill>
            <a:ln w="9525" cap="flat">
              <a:noFill/>
              <a:prstDash val="solid"/>
              <a:miter/>
            </a:ln>
          </p:spPr>
          <p:txBody>
            <a:bodyPr rtlCol="0" anchor="ctr"/>
            <a:lstStyle/>
            <a:p>
              <a:endParaRPr lang="en-US" sz="1568"/>
            </a:p>
          </p:txBody>
        </p:sp>
        <p:sp>
          <p:nvSpPr>
            <p:cNvPr id="57" name="Freeform: Shape 56">
              <a:extLst>
                <a:ext uri="{FF2B5EF4-FFF2-40B4-BE49-F238E27FC236}">
                  <a16:creationId xmlns:a16="http://schemas.microsoft.com/office/drawing/2014/main" id="{4EA67B90-C8BC-47FB-BC02-89719D492C57}"/>
                </a:ext>
              </a:extLst>
            </p:cNvPr>
            <p:cNvSpPr/>
            <p:nvPr/>
          </p:nvSpPr>
          <p:spPr>
            <a:xfrm>
              <a:off x="6156303" y="5772423"/>
              <a:ext cx="39318" cy="95837"/>
            </a:xfrm>
            <a:custGeom>
              <a:avLst/>
              <a:gdLst>
                <a:gd name="connsiteX0" fmla="*/ 39686 w 39317"/>
                <a:gd name="connsiteY0" fmla="*/ 20765 h 95837"/>
                <a:gd name="connsiteX1" fmla="*/ 20765 w 39317"/>
                <a:gd name="connsiteY1" fmla="*/ 1843 h 95837"/>
                <a:gd name="connsiteX2" fmla="*/ 1843 w 39317"/>
                <a:gd name="connsiteY2" fmla="*/ 20765 h 95837"/>
                <a:gd name="connsiteX3" fmla="*/ 1843 w 39317"/>
                <a:gd name="connsiteY3" fmla="*/ 94977 h 95837"/>
                <a:gd name="connsiteX4" fmla="*/ 39686 w 39317"/>
                <a:gd name="connsiteY4" fmla="*/ 94977 h 95837"/>
                <a:gd name="connsiteX5" fmla="*/ 39686 w 39317"/>
                <a:gd name="connsiteY5" fmla="*/ 20765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17" h="95837">
                  <a:moveTo>
                    <a:pt x="39686" y="20765"/>
                  </a:moveTo>
                  <a:cubicBezTo>
                    <a:pt x="39686" y="10198"/>
                    <a:pt x="31086" y="1843"/>
                    <a:pt x="20765" y="1843"/>
                  </a:cubicBezTo>
                  <a:cubicBezTo>
                    <a:pt x="10198" y="1843"/>
                    <a:pt x="1843" y="10444"/>
                    <a:pt x="1843" y="20765"/>
                  </a:cubicBezTo>
                  <a:lnTo>
                    <a:pt x="1843" y="94977"/>
                  </a:lnTo>
                  <a:lnTo>
                    <a:pt x="39686" y="94977"/>
                  </a:lnTo>
                  <a:lnTo>
                    <a:pt x="39686" y="20765"/>
                  </a:lnTo>
                  <a:close/>
                </a:path>
              </a:pathLst>
            </a:custGeom>
            <a:solidFill>
              <a:srgbClr val="EE5253"/>
            </a:solidFill>
            <a:ln w="9525" cap="flat">
              <a:noFill/>
              <a:prstDash val="solid"/>
              <a:miter/>
            </a:ln>
          </p:spPr>
          <p:txBody>
            <a:bodyPr rtlCol="0" anchor="ctr"/>
            <a:lstStyle/>
            <a:p>
              <a:endParaRPr lang="en-US" sz="1568"/>
            </a:p>
          </p:txBody>
        </p:sp>
        <p:sp>
          <p:nvSpPr>
            <p:cNvPr id="58" name="Freeform: Shape 57">
              <a:extLst>
                <a:ext uri="{FF2B5EF4-FFF2-40B4-BE49-F238E27FC236}">
                  <a16:creationId xmlns:a16="http://schemas.microsoft.com/office/drawing/2014/main" id="{263DECCE-5932-493F-8B9C-9E8EC4DCAA56}"/>
                </a:ext>
              </a:extLst>
            </p:cNvPr>
            <p:cNvSpPr/>
            <p:nvPr/>
          </p:nvSpPr>
          <p:spPr>
            <a:xfrm>
              <a:off x="6042036" y="5772423"/>
              <a:ext cx="39318" cy="95837"/>
            </a:xfrm>
            <a:custGeom>
              <a:avLst/>
              <a:gdLst>
                <a:gd name="connsiteX0" fmla="*/ 39686 w 39317"/>
                <a:gd name="connsiteY0" fmla="*/ 94977 h 95837"/>
                <a:gd name="connsiteX1" fmla="*/ 39686 w 39317"/>
                <a:gd name="connsiteY1" fmla="*/ 20765 h 95837"/>
                <a:gd name="connsiteX2" fmla="*/ 20765 w 39317"/>
                <a:gd name="connsiteY2" fmla="*/ 1843 h 95837"/>
                <a:gd name="connsiteX3" fmla="*/ 1843 w 39317"/>
                <a:gd name="connsiteY3" fmla="*/ 20765 h 95837"/>
                <a:gd name="connsiteX4" fmla="*/ 1843 w 39317"/>
                <a:gd name="connsiteY4" fmla="*/ 94977 h 95837"/>
                <a:gd name="connsiteX5" fmla="*/ 39686 w 39317"/>
                <a:gd name="connsiteY5" fmla="*/ 94977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17" h="95837">
                  <a:moveTo>
                    <a:pt x="39686" y="94977"/>
                  </a:moveTo>
                  <a:lnTo>
                    <a:pt x="39686" y="20765"/>
                  </a:lnTo>
                  <a:cubicBezTo>
                    <a:pt x="39686" y="10198"/>
                    <a:pt x="31086" y="1843"/>
                    <a:pt x="20765" y="1843"/>
                  </a:cubicBezTo>
                  <a:cubicBezTo>
                    <a:pt x="10198" y="1843"/>
                    <a:pt x="1843" y="10444"/>
                    <a:pt x="1843" y="20765"/>
                  </a:cubicBezTo>
                  <a:lnTo>
                    <a:pt x="1843" y="94977"/>
                  </a:lnTo>
                  <a:lnTo>
                    <a:pt x="39686" y="94977"/>
                  </a:lnTo>
                  <a:close/>
                </a:path>
              </a:pathLst>
            </a:custGeom>
            <a:solidFill>
              <a:srgbClr val="EE5253"/>
            </a:solidFill>
            <a:ln w="9525" cap="flat">
              <a:noFill/>
              <a:prstDash val="solid"/>
              <a:miter/>
            </a:ln>
          </p:spPr>
          <p:txBody>
            <a:bodyPr rtlCol="0" anchor="ctr"/>
            <a:lstStyle/>
            <a:p>
              <a:endParaRPr lang="en-US" sz="1568"/>
            </a:p>
          </p:txBody>
        </p:sp>
      </p:grpSp>
      <p:sp>
        <p:nvSpPr>
          <p:cNvPr id="59" name="Flowchart: Delay 58">
            <a:extLst>
              <a:ext uri="{FF2B5EF4-FFF2-40B4-BE49-F238E27FC236}">
                <a16:creationId xmlns:a16="http://schemas.microsoft.com/office/drawing/2014/main" id="{A9E25E5F-4E13-4E65-8826-3A30D51B0F68}"/>
              </a:ext>
            </a:extLst>
          </p:cNvPr>
          <p:cNvSpPr/>
          <p:nvPr/>
        </p:nvSpPr>
        <p:spPr>
          <a:xfrm flipH="1">
            <a:off x="5156280" y="2472839"/>
            <a:ext cx="3805158" cy="4248636"/>
          </a:xfrm>
          <a:prstGeom prst="flowChartDelay">
            <a:avLst/>
          </a:prstGeom>
          <a:blipFill dpi="0" rotWithShape="0">
            <a:blip r:embed="rId4"/>
            <a:srcRect/>
            <a:stretch>
              <a:fillRect r="-90086"/>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68"/>
          </a:p>
        </p:txBody>
      </p:sp>
    </p:spTree>
    <p:custDataLst>
      <p:tags r:id="rId1"/>
    </p:custDataLst>
    <p:extLst>
      <p:ext uri="{BB962C8B-B14F-4D97-AF65-F5344CB8AC3E}">
        <p14:creationId xmlns:p14="http://schemas.microsoft.com/office/powerpoint/2010/main" val="338506251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itle Slide Solid Colo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A87961-ACE2-48C4-8C84-0B340CBB0507}"/>
              </a:ext>
            </a:extLst>
          </p:cNvPr>
          <p:cNvSpPr/>
          <p:nvPr/>
        </p:nvSpPr>
        <p:spPr>
          <a:xfrm>
            <a:off x="0" y="1039339"/>
            <a:ext cx="8961438" cy="56821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68" dirty="0"/>
          </a:p>
        </p:txBody>
      </p:sp>
      <p:sp>
        <p:nvSpPr>
          <p:cNvPr id="8" name="Rectangle 7">
            <a:extLst>
              <a:ext uri="{FF2B5EF4-FFF2-40B4-BE49-F238E27FC236}">
                <a16:creationId xmlns:a16="http://schemas.microsoft.com/office/drawing/2014/main" id="{D6B98CD2-F0B5-445F-BA7E-ECC0032501DB}"/>
              </a:ext>
            </a:extLst>
          </p:cNvPr>
          <p:cNvSpPr/>
          <p:nvPr/>
        </p:nvSpPr>
        <p:spPr>
          <a:xfrm>
            <a:off x="2342048" y="305483"/>
            <a:ext cx="6314701" cy="512804"/>
          </a:xfrm>
          <a:prstGeom prst="rect">
            <a:avLst/>
          </a:prstGeom>
        </p:spPr>
        <p:txBody>
          <a:bodyPr wrap="square">
            <a:spAutoFit/>
          </a:bodyPr>
          <a:lstStyle/>
          <a:p>
            <a:pPr algn="r" defTabSz="896112"/>
            <a:r>
              <a:rPr lang="en-US" sz="1372" b="0" dirty="0">
                <a:solidFill>
                  <a:srgbClr val="BA0C2F"/>
                </a:solidFill>
                <a:latin typeface="Gill Sans MT"/>
              </a:rPr>
              <a:t>USAID GLOBAL HEALTH SUPPLY CHAIN PROGRAM</a:t>
            </a:r>
          </a:p>
          <a:p>
            <a:pPr algn="r" defTabSz="896112">
              <a:defRPr/>
            </a:pPr>
            <a:r>
              <a:rPr lang="en-US" sz="1372" dirty="0">
                <a:solidFill>
                  <a:srgbClr val="6C6463"/>
                </a:solidFill>
                <a:latin typeface="Gill Sans MT"/>
              </a:rPr>
              <a:t>Procurement and Supply Management</a:t>
            </a:r>
          </a:p>
        </p:txBody>
      </p:sp>
      <p:pic>
        <p:nvPicPr>
          <p:cNvPr id="9" name="Picture 8" descr="A close up of a sign&#10;&#10;Description generated with very high confidence">
            <a:extLst>
              <a:ext uri="{FF2B5EF4-FFF2-40B4-BE49-F238E27FC236}">
                <a16:creationId xmlns:a16="http://schemas.microsoft.com/office/drawing/2014/main" id="{D90DACBC-64C4-48E6-B966-5246E4D763D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1041" y="237761"/>
            <a:ext cx="2177634" cy="648250"/>
          </a:xfrm>
          <a:prstGeom prst="rect">
            <a:avLst/>
          </a:prstGeom>
        </p:spPr>
      </p:pic>
      <p:sp>
        <p:nvSpPr>
          <p:cNvPr id="113" name="Flowchart: Delay 112">
            <a:extLst>
              <a:ext uri="{FF2B5EF4-FFF2-40B4-BE49-F238E27FC236}">
                <a16:creationId xmlns:a16="http://schemas.microsoft.com/office/drawing/2014/main" id="{DB2942BD-0E38-442B-A4C3-E68ED108C26E}"/>
              </a:ext>
            </a:extLst>
          </p:cNvPr>
          <p:cNvSpPr/>
          <p:nvPr/>
        </p:nvSpPr>
        <p:spPr>
          <a:xfrm flipH="1">
            <a:off x="5156280" y="2472839"/>
            <a:ext cx="3805158" cy="4248636"/>
          </a:xfrm>
          <a:prstGeom prst="flowChartDelay">
            <a:avLst/>
          </a:prstGeom>
          <a:blipFill dpi="0" rotWithShape="0">
            <a:blip r:embed="rId4"/>
            <a:srcRect/>
            <a:stretch>
              <a:fillRect l="-50653" r="-5065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68"/>
          </a:p>
        </p:txBody>
      </p:sp>
      <p:sp>
        <p:nvSpPr>
          <p:cNvPr id="114" name="Title 1">
            <a:extLst>
              <a:ext uri="{FF2B5EF4-FFF2-40B4-BE49-F238E27FC236}">
                <a16:creationId xmlns:a16="http://schemas.microsoft.com/office/drawing/2014/main" id="{EF3AD255-3E62-4B3E-9EC0-10A8CDE7CE9E}"/>
              </a:ext>
            </a:extLst>
          </p:cNvPr>
          <p:cNvSpPr>
            <a:spLocks noGrp="1"/>
          </p:cNvSpPr>
          <p:nvPr>
            <p:ph type="ctrTitle" hasCustomPrompt="1"/>
          </p:nvPr>
        </p:nvSpPr>
        <p:spPr>
          <a:xfrm>
            <a:off x="360308" y="2945834"/>
            <a:ext cx="7923048" cy="1278600"/>
          </a:xfrm>
        </p:spPr>
        <p:txBody>
          <a:bodyPr anchor="b">
            <a:normAutofit/>
          </a:bodyPr>
          <a:lstStyle>
            <a:lvl1pPr algn="l">
              <a:defRPr sz="3920">
                <a:solidFill>
                  <a:schemeClr val="bg1"/>
                </a:solidFill>
              </a:defRPr>
            </a:lvl1pPr>
          </a:lstStyle>
          <a:p>
            <a:r>
              <a:rPr lang="en-US" dirty="0"/>
              <a:t>Click to insert title</a:t>
            </a:r>
          </a:p>
        </p:txBody>
      </p:sp>
      <p:sp>
        <p:nvSpPr>
          <p:cNvPr id="115" name="Subtitle 2">
            <a:extLst>
              <a:ext uri="{FF2B5EF4-FFF2-40B4-BE49-F238E27FC236}">
                <a16:creationId xmlns:a16="http://schemas.microsoft.com/office/drawing/2014/main" id="{61A6C1D9-0F3F-4A23-ADDA-DAA35588CE18}"/>
              </a:ext>
            </a:extLst>
          </p:cNvPr>
          <p:cNvSpPr>
            <a:spLocks noGrp="1"/>
          </p:cNvSpPr>
          <p:nvPr>
            <p:ph type="subTitle" idx="1" hasCustomPrompt="1"/>
          </p:nvPr>
        </p:nvSpPr>
        <p:spPr>
          <a:xfrm>
            <a:off x="360308" y="4475368"/>
            <a:ext cx="7923048" cy="407766"/>
          </a:xfrm>
        </p:spPr>
        <p:txBody>
          <a:bodyPr>
            <a:noAutofit/>
          </a:bodyPr>
          <a:lstStyle>
            <a:lvl1pPr marL="0" indent="0" algn="l">
              <a:buNone/>
              <a:defRPr sz="2352">
                <a:solidFill>
                  <a:schemeClr val="bg1"/>
                </a:solidFill>
              </a:defRPr>
            </a:lvl1pPr>
            <a:lvl2pPr marL="448056" indent="0" algn="ctr">
              <a:buNone/>
              <a:defRPr sz="1960"/>
            </a:lvl2pPr>
            <a:lvl3pPr marL="896112" indent="0" algn="ctr">
              <a:buNone/>
              <a:defRPr sz="1764"/>
            </a:lvl3pPr>
            <a:lvl4pPr marL="1344168" indent="0" algn="ctr">
              <a:buNone/>
              <a:defRPr sz="1568"/>
            </a:lvl4pPr>
            <a:lvl5pPr marL="1792224" indent="0" algn="ctr">
              <a:buNone/>
              <a:defRPr sz="1568"/>
            </a:lvl5pPr>
            <a:lvl6pPr marL="2240280" indent="0" algn="ctr">
              <a:buNone/>
              <a:defRPr sz="1568"/>
            </a:lvl6pPr>
            <a:lvl7pPr marL="2688336" indent="0" algn="ctr">
              <a:buNone/>
              <a:defRPr sz="1568"/>
            </a:lvl7pPr>
            <a:lvl8pPr marL="3136392" indent="0" algn="ctr">
              <a:buNone/>
              <a:defRPr sz="1568"/>
            </a:lvl8pPr>
            <a:lvl9pPr marL="3584448" indent="0" algn="ctr">
              <a:buNone/>
              <a:defRPr sz="1568"/>
            </a:lvl9pPr>
          </a:lstStyle>
          <a:p>
            <a:r>
              <a:rPr lang="en-US" dirty="0"/>
              <a:t>Click to insert date and/or author</a:t>
            </a:r>
          </a:p>
        </p:txBody>
      </p:sp>
    </p:spTree>
    <p:custDataLst>
      <p:tags r:id="rId1"/>
    </p:custDataLst>
    <p:extLst>
      <p:ext uri="{BB962C8B-B14F-4D97-AF65-F5344CB8AC3E}">
        <p14:creationId xmlns:p14="http://schemas.microsoft.com/office/powerpoint/2010/main" val="123847476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Basic PPT Slide</a:t>
            </a:r>
          </a:p>
        </p:txBody>
      </p:sp>
      <p:sp>
        <p:nvSpPr>
          <p:cNvPr id="3" name="Content Placeholder 2"/>
          <p:cNvSpPr>
            <a:spLocks noGrp="1"/>
          </p:cNvSpPr>
          <p:nvPr>
            <p:ph idx="1" hasCustomPrompt="1"/>
          </p:nvPr>
        </p:nvSpPr>
        <p:spPr/>
        <p:txBody>
          <a:bodyPr/>
          <a:lstStyle>
            <a:lvl1pPr>
              <a:lnSpc>
                <a:spcPct val="100000"/>
              </a:lnSpc>
              <a:spcBef>
                <a:spcPts val="1176"/>
              </a:spcBef>
              <a:buClr>
                <a:srgbClr val="6C6463"/>
              </a:buClr>
              <a:defRPr>
                <a:solidFill>
                  <a:srgbClr val="6C6463"/>
                </a:solidFill>
              </a:defRPr>
            </a:lvl1pPr>
            <a:lvl2pPr marL="672084" indent="-224028">
              <a:lnSpc>
                <a:spcPct val="100000"/>
              </a:lnSpc>
              <a:spcBef>
                <a:spcPts val="294"/>
              </a:spcBef>
              <a:buClr>
                <a:srgbClr val="6C6463"/>
              </a:buClr>
              <a:buFont typeface="Courier New" panose="02070309020205020404" pitchFamily="49" charset="0"/>
              <a:buChar char="o"/>
              <a:defRPr>
                <a:solidFill>
                  <a:srgbClr val="6C6463"/>
                </a:solidFill>
              </a:defRPr>
            </a:lvl2pPr>
            <a:lvl3pPr marL="1120140" indent="-224028">
              <a:lnSpc>
                <a:spcPct val="100000"/>
              </a:lnSpc>
              <a:spcBef>
                <a:spcPts val="294"/>
              </a:spcBef>
              <a:buClr>
                <a:srgbClr val="6C6463"/>
              </a:buClr>
              <a:buFont typeface="Gill Sans MT" panose="020B0502020104020203" pitchFamily="34" charset="0"/>
              <a:buChar char="–"/>
              <a:defRPr>
                <a:solidFill>
                  <a:srgbClr val="6C6463"/>
                </a:solidFill>
              </a:defRPr>
            </a:lvl3pPr>
            <a:lvl4pPr>
              <a:lnSpc>
                <a:spcPct val="100000"/>
              </a:lnSpc>
              <a:spcBef>
                <a:spcPts val="294"/>
              </a:spcBef>
              <a:defRPr>
                <a:solidFill>
                  <a:srgbClr val="6C6463"/>
                </a:solidFill>
              </a:defRPr>
            </a:lvl4pPr>
            <a:lvl5pPr>
              <a:lnSpc>
                <a:spcPct val="100000"/>
              </a:lnSpc>
              <a:spcBef>
                <a:spcPts val="294"/>
              </a:spcBef>
              <a:defRPr>
                <a:solidFill>
                  <a:srgbClr val="6C6463"/>
                </a:solidFill>
              </a:defRPr>
            </a:lvl5pPr>
          </a:lstStyle>
          <a:p>
            <a:pPr lvl="0"/>
            <a:r>
              <a:rPr lang="en-US" dirty="0"/>
              <a:t>Bullet Points</a:t>
            </a:r>
          </a:p>
        </p:txBody>
      </p:sp>
      <p:sp>
        <p:nvSpPr>
          <p:cNvPr id="6" name="Slide Number Placeholder 5"/>
          <p:cNvSpPr>
            <a:spLocks noGrp="1"/>
          </p:cNvSpPr>
          <p:nvPr>
            <p:ph type="sldNum" sz="quarter" idx="12"/>
          </p:nvPr>
        </p:nvSpPr>
        <p:spPr/>
        <p:txBody>
          <a:bodyPr/>
          <a:lstStyle>
            <a:lvl1pPr>
              <a:defRPr b="1">
                <a:solidFill>
                  <a:srgbClr val="BA0C2F"/>
                </a:solidFill>
              </a:defRPr>
            </a:lvl1pPr>
          </a:lstStyle>
          <a:p>
            <a:fld id="{AFB4637D-E648-4D47-95AC-4BFF987C325D}" type="slidenum">
              <a:rPr lang="en-US" smtClean="0"/>
              <a:pPr/>
              <a:t>‹#›</a:t>
            </a:fld>
            <a:endParaRPr lang="en-US" dirty="0"/>
          </a:p>
        </p:txBody>
      </p:sp>
    </p:spTree>
    <p:custDataLst>
      <p:tags r:id="rId1"/>
    </p:custDataLst>
    <p:extLst>
      <p:ext uri="{BB962C8B-B14F-4D97-AF65-F5344CB8AC3E}">
        <p14:creationId xmlns:p14="http://schemas.microsoft.com/office/powerpoint/2010/main" val="26794947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PPT Slide with a Table</a:t>
            </a:r>
          </a:p>
        </p:txBody>
      </p:sp>
      <p:sp>
        <p:nvSpPr>
          <p:cNvPr id="6" name="Slide Number Placeholder 5"/>
          <p:cNvSpPr>
            <a:spLocks noGrp="1"/>
          </p:cNvSpPr>
          <p:nvPr>
            <p:ph type="sldNum" sz="quarter" idx="12"/>
          </p:nvPr>
        </p:nvSpPr>
        <p:spPr/>
        <p:txBody>
          <a:bodyPr/>
          <a:lstStyle>
            <a:lvl1pPr>
              <a:defRPr b="1">
                <a:solidFill>
                  <a:srgbClr val="BA0C2F"/>
                </a:solidFill>
              </a:defRPr>
            </a:lvl1pPr>
          </a:lstStyle>
          <a:p>
            <a:fld id="{AFB4637D-E648-4D47-95AC-4BFF987C325D}" type="slidenum">
              <a:rPr lang="en-US" smtClean="0"/>
              <a:pPr/>
              <a:t>‹#›</a:t>
            </a:fld>
            <a:endParaRPr lang="en-US" dirty="0"/>
          </a:p>
        </p:txBody>
      </p:sp>
      <p:sp>
        <p:nvSpPr>
          <p:cNvPr id="4" name="Table Placeholder 3">
            <a:extLst>
              <a:ext uri="{FF2B5EF4-FFF2-40B4-BE49-F238E27FC236}">
                <a16:creationId xmlns:a16="http://schemas.microsoft.com/office/drawing/2014/main" id="{73F02759-E9B4-452B-8015-98F766EAC2CE}"/>
              </a:ext>
            </a:extLst>
          </p:cNvPr>
          <p:cNvSpPr>
            <a:spLocks noGrp="1"/>
          </p:cNvSpPr>
          <p:nvPr>
            <p:ph type="tbl" sz="quarter" idx="14"/>
          </p:nvPr>
        </p:nvSpPr>
        <p:spPr>
          <a:xfrm>
            <a:off x="616099" y="1781503"/>
            <a:ext cx="7729240" cy="4275605"/>
          </a:xfrm>
        </p:spPr>
        <p:txBody>
          <a:bodyPr/>
          <a:lstStyle>
            <a:lvl1pPr marL="0" indent="0">
              <a:buNone/>
              <a:defRPr/>
            </a:lvl1pPr>
          </a:lstStyle>
          <a:p>
            <a:r>
              <a:rPr lang="en-US"/>
              <a:t>Click icon to add table</a:t>
            </a:r>
            <a:endParaRPr lang="en-US" dirty="0"/>
          </a:p>
        </p:txBody>
      </p:sp>
    </p:spTree>
    <p:custDataLst>
      <p:tags r:id="rId1"/>
    </p:custDataLst>
    <p:extLst>
      <p:ext uri="{BB962C8B-B14F-4D97-AF65-F5344CB8AC3E}">
        <p14:creationId xmlns:p14="http://schemas.microsoft.com/office/powerpoint/2010/main" val="29704429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7"/>
          <a:ext cx="1555" cy="1555"/>
        </p:xfrm>
        <a:graphic>
          <a:graphicData uri="http://schemas.openxmlformats.org/presentationml/2006/ole">
            <mc:AlternateContent xmlns:mc="http://schemas.openxmlformats.org/markup-compatibility/2006">
              <mc:Choice xmlns:v="urn:schemas-microsoft-com:vml" Requires="v">
                <p:oleObj spid="_x0000_s4196"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57" y="1557"/>
                        <a:ext cx="1555" cy="1555"/>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70026E22-07C8-4A51-A787-87EEA0F3726A}"/>
              </a:ext>
            </a:extLst>
          </p:cNvPr>
          <p:cNvSpPr/>
          <p:nvPr/>
        </p:nvSpPr>
        <p:spPr bwMode="gray">
          <a:xfrm>
            <a:off x="265" y="198"/>
            <a:ext cx="8960909" cy="723858"/>
          </a:xfrm>
          <a:prstGeom prst="rect">
            <a:avLst/>
          </a:prstGeom>
          <a:solidFill>
            <a:srgbClr val="BACEE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3">
              <a:defRPr/>
            </a:pPr>
            <a:endParaRPr lang="en-US" dirty="0">
              <a:solidFill>
                <a:srgbClr val="000000"/>
              </a:solidFill>
              <a:latin typeface="Gill Sans MT" panose="020B0502020104020203" pitchFamily="34" charset="0"/>
              <a:sym typeface="Gill Sans MT" panose="020B0502020104020203" pitchFamily="34" charset="0"/>
            </a:endParaRPr>
          </a:p>
        </p:txBody>
      </p:sp>
      <p:sp>
        <p:nvSpPr>
          <p:cNvPr id="2" name="2. Slide Title"/>
          <p:cNvSpPr>
            <a:spLocks noGrp="1"/>
          </p:cNvSpPr>
          <p:nvPr>
            <p:ph type="title"/>
          </p:nvPr>
        </p:nvSpPr>
        <p:spPr bwMode="auto">
          <a:xfrm>
            <a:off x="793094" y="245370"/>
            <a:ext cx="8005746" cy="307777"/>
          </a:xfrm>
        </p:spPr>
        <p:txBody>
          <a:bodyPr anchor="ctr" anchorCtr="0"/>
          <a:lstStyle>
            <a:lvl1pPr>
              <a:defRPr lang="x-none" sz="2000" b="1" baseline="0" dirty="0">
                <a:solidFill>
                  <a:schemeClr val="accent3"/>
                </a:solidFill>
                <a:latin typeface="Gill Sans MT" panose="020B0502020104020203" pitchFamily="34" charset="0"/>
                <a:ea typeface="+mj-ea"/>
                <a:cs typeface="+mj-cs"/>
                <a:sym typeface="Gill Sans MT" panose="020B0502020104020203" pitchFamily="34" charset="0"/>
              </a:defRPr>
            </a:lvl1pPr>
          </a:lstStyle>
          <a:p>
            <a:r>
              <a:rPr lang="en-US" dirty="0"/>
              <a:t>Click to edit Master title style</a:t>
            </a:r>
            <a:endParaRPr lang="x-none" dirty="0"/>
          </a:p>
        </p:txBody>
      </p:sp>
      <p:sp>
        <p:nvSpPr>
          <p:cNvPr id="13" name="1. On-page tracker">
            <a:extLst>
              <a:ext uri="{FF2B5EF4-FFF2-40B4-BE49-F238E27FC236}">
                <a16:creationId xmlns:a16="http://schemas.microsoft.com/office/drawing/2014/main" id="{9F334527-24C8-46DB-B914-EB26B73DDB05}"/>
              </a:ext>
            </a:extLst>
          </p:cNvPr>
          <p:cNvSpPr>
            <a:spLocks noChangeArrowheads="1"/>
          </p:cNvSpPr>
          <p:nvPr/>
        </p:nvSpPr>
        <p:spPr bwMode="gray">
          <a:xfrm>
            <a:off x="793094" y="62013"/>
            <a:ext cx="310501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303">
              <a:defRPr/>
            </a:pPr>
            <a:r>
              <a:rPr lang="en-US" sz="900" b="1" cap="none" dirty="0">
                <a:solidFill>
                  <a:schemeClr val="accent3"/>
                </a:solidFill>
                <a:latin typeface="Gill Sans MT" panose="020B0502020104020203" pitchFamily="34" charset="0"/>
                <a:sym typeface="Gill Sans MT" panose="020B0502020104020203" pitchFamily="34" charset="0"/>
              </a:rPr>
              <a:t>People and Processes &gt; Governance and Organizational Structure</a:t>
            </a:r>
          </a:p>
        </p:txBody>
      </p:sp>
      <p:grpSp>
        <p:nvGrpSpPr>
          <p:cNvPr id="14" name="Group 13">
            <a:extLst>
              <a:ext uri="{FF2B5EF4-FFF2-40B4-BE49-F238E27FC236}">
                <a16:creationId xmlns:a16="http://schemas.microsoft.com/office/drawing/2014/main" id="{EC38F174-70FE-4447-B9E3-E5724CC50A2E}"/>
              </a:ext>
            </a:extLst>
          </p:cNvPr>
          <p:cNvGrpSpPr/>
          <p:nvPr/>
        </p:nvGrpSpPr>
        <p:grpSpPr>
          <a:xfrm>
            <a:off x="177166" y="171624"/>
            <a:ext cx="419160" cy="383292"/>
            <a:chOff x="91477" y="81374"/>
            <a:chExt cx="541553" cy="495211"/>
          </a:xfrm>
        </p:grpSpPr>
        <p:sp>
          <p:nvSpPr>
            <p:cNvPr id="15" name="Freeform 37">
              <a:extLst>
                <a:ext uri="{FF2B5EF4-FFF2-40B4-BE49-F238E27FC236}">
                  <a16:creationId xmlns:a16="http://schemas.microsoft.com/office/drawing/2014/main" id="{8B373366-7503-4DE2-8D9B-404ABF58EF8A}"/>
                </a:ext>
              </a:extLst>
            </p:cNvPr>
            <p:cNvSpPr>
              <a:spLocks noEditPoints="1"/>
            </p:cNvSpPr>
            <p:nvPr/>
          </p:nvSpPr>
          <p:spPr bwMode="auto">
            <a:xfrm>
              <a:off x="91477" y="395184"/>
              <a:ext cx="168160" cy="181401"/>
            </a:xfrm>
            <a:custGeom>
              <a:avLst/>
              <a:gdLst>
                <a:gd name="T0" fmla="*/ 25 w 83"/>
                <a:gd name="T1" fmla="*/ 16 h 89"/>
                <a:gd name="T2" fmla="*/ 41 w 83"/>
                <a:gd name="T3" fmla="*/ 0 h 89"/>
                <a:gd name="T4" fmla="*/ 57 w 83"/>
                <a:gd name="T5" fmla="*/ 16 h 89"/>
                <a:gd name="T6" fmla="*/ 41 w 83"/>
                <a:gd name="T7" fmla="*/ 39 h 89"/>
                <a:gd name="T8" fmla="*/ 25 w 83"/>
                <a:gd name="T9" fmla="*/ 16 h 89"/>
                <a:gd name="T10" fmla="*/ 41 w 83"/>
                <a:gd name="T11" fmla="*/ 89 h 89"/>
                <a:gd name="T12" fmla="*/ 83 w 83"/>
                <a:gd name="T13" fmla="*/ 82 h 89"/>
                <a:gd name="T14" fmla="*/ 54 w 83"/>
                <a:gd name="T15" fmla="*/ 38 h 89"/>
                <a:gd name="T16" fmla="*/ 41 w 83"/>
                <a:gd name="T17" fmla="*/ 62 h 89"/>
                <a:gd name="T18" fmla="*/ 28 w 83"/>
                <a:gd name="T19" fmla="*/ 38 h 89"/>
                <a:gd name="T20" fmla="*/ 0 w 83"/>
                <a:gd name="T21" fmla="*/ 83 h 89"/>
                <a:gd name="T22" fmla="*/ 41 w 83"/>
                <a:gd name="T23"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 h="89">
                  <a:moveTo>
                    <a:pt x="25" y="16"/>
                  </a:moveTo>
                  <a:cubicBezTo>
                    <a:pt x="25" y="7"/>
                    <a:pt x="32" y="0"/>
                    <a:pt x="41" y="0"/>
                  </a:cubicBezTo>
                  <a:cubicBezTo>
                    <a:pt x="50" y="0"/>
                    <a:pt x="57" y="7"/>
                    <a:pt x="57" y="16"/>
                  </a:cubicBezTo>
                  <a:cubicBezTo>
                    <a:pt x="57" y="25"/>
                    <a:pt x="50" y="39"/>
                    <a:pt x="41" y="39"/>
                  </a:cubicBezTo>
                  <a:cubicBezTo>
                    <a:pt x="32" y="39"/>
                    <a:pt x="25" y="25"/>
                    <a:pt x="25" y="16"/>
                  </a:cubicBezTo>
                  <a:close/>
                  <a:moveTo>
                    <a:pt x="41" y="89"/>
                  </a:moveTo>
                  <a:cubicBezTo>
                    <a:pt x="62" y="89"/>
                    <a:pt x="81" y="83"/>
                    <a:pt x="83" y="82"/>
                  </a:cubicBezTo>
                  <a:cubicBezTo>
                    <a:pt x="79" y="51"/>
                    <a:pt x="68" y="38"/>
                    <a:pt x="54" y="38"/>
                  </a:cubicBezTo>
                  <a:cubicBezTo>
                    <a:pt x="54" y="38"/>
                    <a:pt x="46" y="44"/>
                    <a:pt x="41" y="62"/>
                  </a:cubicBezTo>
                  <a:cubicBezTo>
                    <a:pt x="37" y="44"/>
                    <a:pt x="28" y="38"/>
                    <a:pt x="28" y="38"/>
                  </a:cubicBezTo>
                  <a:cubicBezTo>
                    <a:pt x="14" y="38"/>
                    <a:pt x="3" y="51"/>
                    <a:pt x="0" y="83"/>
                  </a:cubicBezTo>
                  <a:cubicBezTo>
                    <a:pt x="2" y="84"/>
                    <a:pt x="21" y="89"/>
                    <a:pt x="41" y="89"/>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Gill Sans MT" panose="020B0502020104020203" pitchFamily="34" charset="0"/>
                <a:sym typeface="Gill Sans MT" panose="020B0502020104020203" pitchFamily="34" charset="0"/>
              </a:endParaRPr>
            </a:p>
          </p:txBody>
        </p:sp>
        <p:sp>
          <p:nvSpPr>
            <p:cNvPr id="16" name="Freeform 38">
              <a:extLst>
                <a:ext uri="{FF2B5EF4-FFF2-40B4-BE49-F238E27FC236}">
                  <a16:creationId xmlns:a16="http://schemas.microsoft.com/office/drawing/2014/main" id="{C57803EF-610C-4EF7-9DBB-03FD7CBF2AB3}"/>
                </a:ext>
              </a:extLst>
            </p:cNvPr>
            <p:cNvSpPr>
              <a:spLocks noEditPoints="1"/>
            </p:cNvSpPr>
            <p:nvPr/>
          </p:nvSpPr>
          <p:spPr bwMode="auto">
            <a:xfrm>
              <a:off x="276850" y="395184"/>
              <a:ext cx="169484" cy="181401"/>
            </a:xfrm>
            <a:custGeom>
              <a:avLst/>
              <a:gdLst>
                <a:gd name="T0" fmla="*/ 26 w 84"/>
                <a:gd name="T1" fmla="*/ 16 h 89"/>
                <a:gd name="T2" fmla="*/ 42 w 84"/>
                <a:gd name="T3" fmla="*/ 0 h 89"/>
                <a:gd name="T4" fmla="*/ 58 w 84"/>
                <a:gd name="T5" fmla="*/ 16 h 89"/>
                <a:gd name="T6" fmla="*/ 42 w 84"/>
                <a:gd name="T7" fmla="*/ 39 h 89"/>
                <a:gd name="T8" fmla="*/ 26 w 84"/>
                <a:gd name="T9" fmla="*/ 16 h 89"/>
                <a:gd name="T10" fmla="*/ 42 w 84"/>
                <a:gd name="T11" fmla="*/ 89 h 89"/>
                <a:gd name="T12" fmla="*/ 84 w 84"/>
                <a:gd name="T13" fmla="*/ 82 h 89"/>
                <a:gd name="T14" fmla="*/ 55 w 84"/>
                <a:gd name="T15" fmla="*/ 38 h 89"/>
                <a:gd name="T16" fmla="*/ 42 w 84"/>
                <a:gd name="T17" fmla="*/ 62 h 89"/>
                <a:gd name="T18" fmla="*/ 29 w 84"/>
                <a:gd name="T19" fmla="*/ 38 h 89"/>
                <a:gd name="T20" fmla="*/ 0 w 84"/>
                <a:gd name="T21" fmla="*/ 83 h 89"/>
                <a:gd name="T22" fmla="*/ 42 w 84"/>
                <a:gd name="T23"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9">
                  <a:moveTo>
                    <a:pt x="26" y="16"/>
                  </a:moveTo>
                  <a:cubicBezTo>
                    <a:pt x="26" y="7"/>
                    <a:pt x="33" y="0"/>
                    <a:pt x="42" y="0"/>
                  </a:cubicBezTo>
                  <a:cubicBezTo>
                    <a:pt x="51" y="0"/>
                    <a:pt x="58" y="7"/>
                    <a:pt x="58" y="16"/>
                  </a:cubicBezTo>
                  <a:cubicBezTo>
                    <a:pt x="58" y="25"/>
                    <a:pt x="51" y="39"/>
                    <a:pt x="42" y="39"/>
                  </a:cubicBezTo>
                  <a:cubicBezTo>
                    <a:pt x="33" y="39"/>
                    <a:pt x="26" y="25"/>
                    <a:pt x="26" y="16"/>
                  </a:cubicBezTo>
                  <a:close/>
                  <a:moveTo>
                    <a:pt x="42" y="89"/>
                  </a:moveTo>
                  <a:cubicBezTo>
                    <a:pt x="63" y="89"/>
                    <a:pt x="81" y="83"/>
                    <a:pt x="84" y="82"/>
                  </a:cubicBezTo>
                  <a:cubicBezTo>
                    <a:pt x="80" y="51"/>
                    <a:pt x="69" y="38"/>
                    <a:pt x="55" y="38"/>
                  </a:cubicBezTo>
                  <a:cubicBezTo>
                    <a:pt x="55" y="38"/>
                    <a:pt x="47" y="44"/>
                    <a:pt x="42" y="62"/>
                  </a:cubicBezTo>
                  <a:cubicBezTo>
                    <a:pt x="38" y="44"/>
                    <a:pt x="29" y="38"/>
                    <a:pt x="29" y="38"/>
                  </a:cubicBezTo>
                  <a:cubicBezTo>
                    <a:pt x="15" y="38"/>
                    <a:pt x="4" y="51"/>
                    <a:pt x="0" y="83"/>
                  </a:cubicBezTo>
                  <a:cubicBezTo>
                    <a:pt x="3" y="84"/>
                    <a:pt x="22" y="89"/>
                    <a:pt x="42" y="89"/>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Gill Sans MT" panose="020B0502020104020203" pitchFamily="34" charset="0"/>
                <a:sym typeface="Gill Sans MT" panose="020B0502020104020203" pitchFamily="34" charset="0"/>
              </a:endParaRPr>
            </a:p>
          </p:txBody>
        </p:sp>
        <p:sp>
          <p:nvSpPr>
            <p:cNvPr id="17" name="Freeform 39">
              <a:extLst>
                <a:ext uri="{FF2B5EF4-FFF2-40B4-BE49-F238E27FC236}">
                  <a16:creationId xmlns:a16="http://schemas.microsoft.com/office/drawing/2014/main" id="{2B3C658A-4229-45BA-A2BC-B15A875A363F}"/>
                </a:ext>
              </a:extLst>
            </p:cNvPr>
            <p:cNvSpPr>
              <a:spLocks noEditPoints="1"/>
            </p:cNvSpPr>
            <p:nvPr/>
          </p:nvSpPr>
          <p:spPr bwMode="auto">
            <a:xfrm>
              <a:off x="463546" y="395184"/>
              <a:ext cx="169484" cy="181401"/>
            </a:xfrm>
            <a:custGeom>
              <a:avLst/>
              <a:gdLst>
                <a:gd name="T0" fmla="*/ 26 w 84"/>
                <a:gd name="T1" fmla="*/ 16 h 89"/>
                <a:gd name="T2" fmla="*/ 42 w 84"/>
                <a:gd name="T3" fmla="*/ 0 h 89"/>
                <a:gd name="T4" fmla="*/ 58 w 84"/>
                <a:gd name="T5" fmla="*/ 16 h 89"/>
                <a:gd name="T6" fmla="*/ 42 w 84"/>
                <a:gd name="T7" fmla="*/ 39 h 89"/>
                <a:gd name="T8" fmla="*/ 26 w 84"/>
                <a:gd name="T9" fmla="*/ 16 h 89"/>
                <a:gd name="T10" fmla="*/ 42 w 84"/>
                <a:gd name="T11" fmla="*/ 89 h 89"/>
                <a:gd name="T12" fmla="*/ 84 w 84"/>
                <a:gd name="T13" fmla="*/ 82 h 89"/>
                <a:gd name="T14" fmla="*/ 55 w 84"/>
                <a:gd name="T15" fmla="*/ 38 h 89"/>
                <a:gd name="T16" fmla="*/ 42 w 84"/>
                <a:gd name="T17" fmla="*/ 62 h 89"/>
                <a:gd name="T18" fmla="*/ 29 w 84"/>
                <a:gd name="T19" fmla="*/ 38 h 89"/>
                <a:gd name="T20" fmla="*/ 0 w 84"/>
                <a:gd name="T21" fmla="*/ 83 h 89"/>
                <a:gd name="T22" fmla="*/ 42 w 84"/>
                <a:gd name="T23"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9">
                  <a:moveTo>
                    <a:pt x="26" y="16"/>
                  </a:moveTo>
                  <a:cubicBezTo>
                    <a:pt x="26" y="7"/>
                    <a:pt x="33" y="0"/>
                    <a:pt x="42" y="0"/>
                  </a:cubicBezTo>
                  <a:cubicBezTo>
                    <a:pt x="50" y="0"/>
                    <a:pt x="58" y="7"/>
                    <a:pt x="58" y="16"/>
                  </a:cubicBezTo>
                  <a:cubicBezTo>
                    <a:pt x="58" y="25"/>
                    <a:pt x="50" y="39"/>
                    <a:pt x="42" y="39"/>
                  </a:cubicBezTo>
                  <a:cubicBezTo>
                    <a:pt x="33" y="39"/>
                    <a:pt x="26" y="25"/>
                    <a:pt x="26" y="16"/>
                  </a:cubicBezTo>
                  <a:close/>
                  <a:moveTo>
                    <a:pt x="42" y="89"/>
                  </a:moveTo>
                  <a:cubicBezTo>
                    <a:pt x="62" y="89"/>
                    <a:pt x="81" y="83"/>
                    <a:pt x="84" y="82"/>
                  </a:cubicBezTo>
                  <a:cubicBezTo>
                    <a:pt x="80" y="51"/>
                    <a:pt x="69" y="38"/>
                    <a:pt x="55" y="38"/>
                  </a:cubicBezTo>
                  <a:cubicBezTo>
                    <a:pt x="55" y="38"/>
                    <a:pt x="46" y="44"/>
                    <a:pt x="42" y="62"/>
                  </a:cubicBezTo>
                  <a:cubicBezTo>
                    <a:pt x="38" y="44"/>
                    <a:pt x="29" y="38"/>
                    <a:pt x="29" y="38"/>
                  </a:cubicBezTo>
                  <a:cubicBezTo>
                    <a:pt x="15" y="38"/>
                    <a:pt x="4" y="51"/>
                    <a:pt x="0" y="83"/>
                  </a:cubicBezTo>
                  <a:cubicBezTo>
                    <a:pt x="3" y="84"/>
                    <a:pt x="22" y="89"/>
                    <a:pt x="42" y="89"/>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Gill Sans MT" panose="020B0502020104020203" pitchFamily="34" charset="0"/>
                <a:sym typeface="Gill Sans MT" panose="020B0502020104020203" pitchFamily="34" charset="0"/>
              </a:endParaRPr>
            </a:p>
          </p:txBody>
        </p:sp>
        <p:sp>
          <p:nvSpPr>
            <p:cNvPr id="18" name="Freeform 40">
              <a:extLst>
                <a:ext uri="{FF2B5EF4-FFF2-40B4-BE49-F238E27FC236}">
                  <a16:creationId xmlns:a16="http://schemas.microsoft.com/office/drawing/2014/main" id="{4FF4C8F2-5992-4CA3-9F3D-CDD8A7461600}"/>
                </a:ext>
              </a:extLst>
            </p:cNvPr>
            <p:cNvSpPr>
              <a:spLocks/>
            </p:cNvSpPr>
            <p:nvPr/>
          </p:nvSpPr>
          <p:spPr bwMode="auto">
            <a:xfrm>
              <a:off x="162978" y="321035"/>
              <a:ext cx="397227" cy="64881"/>
            </a:xfrm>
            <a:custGeom>
              <a:avLst/>
              <a:gdLst>
                <a:gd name="T0" fmla="*/ 196 w 196"/>
                <a:gd name="T1" fmla="*/ 32 h 32"/>
                <a:gd name="T2" fmla="*/ 186 w 196"/>
                <a:gd name="T3" fmla="*/ 32 h 32"/>
                <a:gd name="T4" fmla="*/ 186 w 196"/>
                <a:gd name="T5" fmla="*/ 27 h 32"/>
                <a:gd name="T6" fmla="*/ 169 w 196"/>
                <a:gd name="T7" fmla="*/ 11 h 32"/>
                <a:gd name="T8" fmla="*/ 27 w 196"/>
                <a:gd name="T9" fmla="*/ 11 h 32"/>
                <a:gd name="T10" fmla="*/ 11 w 196"/>
                <a:gd name="T11" fmla="*/ 27 h 32"/>
                <a:gd name="T12" fmla="*/ 11 w 196"/>
                <a:gd name="T13" fmla="*/ 32 h 32"/>
                <a:gd name="T14" fmla="*/ 0 w 196"/>
                <a:gd name="T15" fmla="*/ 32 h 32"/>
                <a:gd name="T16" fmla="*/ 0 w 196"/>
                <a:gd name="T17" fmla="*/ 27 h 32"/>
                <a:gd name="T18" fmla="*/ 27 w 196"/>
                <a:gd name="T19" fmla="*/ 0 h 32"/>
                <a:gd name="T20" fmla="*/ 169 w 196"/>
                <a:gd name="T21" fmla="*/ 0 h 32"/>
                <a:gd name="T22" fmla="*/ 196 w 196"/>
                <a:gd name="T23" fmla="*/ 27 h 32"/>
                <a:gd name="T24" fmla="*/ 196 w 196"/>
                <a:gd name="T2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6" h="32">
                  <a:moveTo>
                    <a:pt x="196" y="32"/>
                  </a:moveTo>
                  <a:cubicBezTo>
                    <a:pt x="186" y="32"/>
                    <a:pt x="186" y="32"/>
                    <a:pt x="186" y="32"/>
                  </a:cubicBezTo>
                  <a:cubicBezTo>
                    <a:pt x="186" y="27"/>
                    <a:pt x="186" y="27"/>
                    <a:pt x="186" y="27"/>
                  </a:cubicBezTo>
                  <a:cubicBezTo>
                    <a:pt x="186" y="18"/>
                    <a:pt x="178" y="11"/>
                    <a:pt x="169" y="11"/>
                  </a:cubicBezTo>
                  <a:cubicBezTo>
                    <a:pt x="27" y="11"/>
                    <a:pt x="27" y="11"/>
                    <a:pt x="27" y="11"/>
                  </a:cubicBezTo>
                  <a:cubicBezTo>
                    <a:pt x="18" y="11"/>
                    <a:pt x="11" y="18"/>
                    <a:pt x="11" y="27"/>
                  </a:cubicBezTo>
                  <a:cubicBezTo>
                    <a:pt x="11" y="32"/>
                    <a:pt x="11" y="32"/>
                    <a:pt x="11" y="32"/>
                  </a:cubicBezTo>
                  <a:cubicBezTo>
                    <a:pt x="0" y="32"/>
                    <a:pt x="0" y="32"/>
                    <a:pt x="0" y="32"/>
                  </a:cubicBezTo>
                  <a:cubicBezTo>
                    <a:pt x="0" y="27"/>
                    <a:pt x="0" y="27"/>
                    <a:pt x="0" y="27"/>
                  </a:cubicBezTo>
                  <a:cubicBezTo>
                    <a:pt x="0" y="12"/>
                    <a:pt x="12" y="0"/>
                    <a:pt x="27" y="0"/>
                  </a:cubicBezTo>
                  <a:cubicBezTo>
                    <a:pt x="169" y="0"/>
                    <a:pt x="169" y="0"/>
                    <a:pt x="169" y="0"/>
                  </a:cubicBezTo>
                  <a:cubicBezTo>
                    <a:pt x="184" y="0"/>
                    <a:pt x="196" y="12"/>
                    <a:pt x="196" y="27"/>
                  </a:cubicBezTo>
                  <a:lnTo>
                    <a:pt x="196" y="32"/>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Gill Sans MT" panose="020B0502020104020203" pitchFamily="34" charset="0"/>
                <a:sym typeface="Gill Sans MT" panose="020B0502020104020203" pitchFamily="34" charset="0"/>
              </a:endParaRPr>
            </a:p>
          </p:txBody>
        </p:sp>
        <p:sp>
          <p:nvSpPr>
            <p:cNvPr id="19" name="Rectangle 41">
              <a:extLst>
                <a:ext uri="{FF2B5EF4-FFF2-40B4-BE49-F238E27FC236}">
                  <a16:creationId xmlns:a16="http://schemas.microsoft.com/office/drawing/2014/main" id="{67E0A156-3E82-45F3-AC2C-14BBF80B986F}"/>
                </a:ext>
              </a:extLst>
            </p:cNvPr>
            <p:cNvSpPr>
              <a:spLocks noChangeArrowheads="1"/>
            </p:cNvSpPr>
            <p:nvPr/>
          </p:nvSpPr>
          <p:spPr bwMode="auto">
            <a:xfrm>
              <a:off x="350999" y="330303"/>
              <a:ext cx="21185" cy="5561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Gill Sans MT" panose="020B0502020104020203" pitchFamily="34" charset="0"/>
                <a:sym typeface="Gill Sans MT" panose="020B0502020104020203" pitchFamily="34" charset="0"/>
              </a:endParaRPr>
            </a:p>
          </p:txBody>
        </p:sp>
        <p:sp>
          <p:nvSpPr>
            <p:cNvPr id="20" name="Freeform 42">
              <a:extLst>
                <a:ext uri="{FF2B5EF4-FFF2-40B4-BE49-F238E27FC236}">
                  <a16:creationId xmlns:a16="http://schemas.microsoft.com/office/drawing/2014/main" id="{1DD98EEF-47D8-4A57-A44F-E2DB559EDFCA}"/>
                </a:ext>
              </a:extLst>
            </p:cNvPr>
            <p:cNvSpPr>
              <a:spLocks/>
            </p:cNvSpPr>
            <p:nvPr/>
          </p:nvSpPr>
          <p:spPr bwMode="auto">
            <a:xfrm>
              <a:off x="246395" y="188626"/>
              <a:ext cx="230392" cy="117845"/>
            </a:xfrm>
            <a:custGeom>
              <a:avLst/>
              <a:gdLst>
                <a:gd name="T0" fmla="*/ 114 w 114"/>
                <a:gd name="T1" fmla="*/ 58 h 58"/>
                <a:gd name="T2" fmla="*/ 75 w 114"/>
                <a:gd name="T3" fmla="*/ 0 h 58"/>
                <a:gd name="T4" fmla="*/ 57 w 114"/>
                <a:gd name="T5" fmla="*/ 53 h 58"/>
                <a:gd name="T6" fmla="*/ 39 w 114"/>
                <a:gd name="T7" fmla="*/ 0 h 58"/>
                <a:gd name="T8" fmla="*/ 0 w 114"/>
                <a:gd name="T9" fmla="*/ 58 h 58"/>
                <a:gd name="T10" fmla="*/ 114 w 114"/>
                <a:gd name="T11" fmla="*/ 58 h 58"/>
              </a:gdLst>
              <a:ahLst/>
              <a:cxnLst>
                <a:cxn ang="0">
                  <a:pos x="T0" y="T1"/>
                </a:cxn>
                <a:cxn ang="0">
                  <a:pos x="T2" y="T3"/>
                </a:cxn>
                <a:cxn ang="0">
                  <a:pos x="T4" y="T5"/>
                </a:cxn>
                <a:cxn ang="0">
                  <a:pos x="T6" y="T7"/>
                </a:cxn>
                <a:cxn ang="0">
                  <a:pos x="T8" y="T9"/>
                </a:cxn>
                <a:cxn ang="0">
                  <a:pos x="T10" y="T11"/>
                </a:cxn>
              </a:cxnLst>
              <a:rect l="0" t="0" r="r" b="b"/>
              <a:pathLst>
                <a:path w="114" h="58">
                  <a:moveTo>
                    <a:pt x="114" y="58"/>
                  </a:moveTo>
                  <a:cubicBezTo>
                    <a:pt x="109" y="17"/>
                    <a:pt x="94" y="0"/>
                    <a:pt x="75" y="0"/>
                  </a:cubicBezTo>
                  <a:cubicBezTo>
                    <a:pt x="75" y="0"/>
                    <a:pt x="63" y="28"/>
                    <a:pt x="57" y="53"/>
                  </a:cubicBezTo>
                  <a:cubicBezTo>
                    <a:pt x="51" y="28"/>
                    <a:pt x="39" y="0"/>
                    <a:pt x="39" y="0"/>
                  </a:cubicBezTo>
                  <a:cubicBezTo>
                    <a:pt x="21" y="0"/>
                    <a:pt x="5" y="17"/>
                    <a:pt x="0" y="58"/>
                  </a:cubicBezTo>
                  <a:lnTo>
                    <a:pt x="114" y="58"/>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US" dirty="0">
                <a:latin typeface="Gill Sans MT" panose="020B0502020104020203" pitchFamily="34" charset="0"/>
                <a:sym typeface="Gill Sans MT" panose="020B0502020104020203" pitchFamily="34" charset="0"/>
              </a:endParaRPr>
            </a:p>
          </p:txBody>
        </p:sp>
        <p:sp>
          <p:nvSpPr>
            <p:cNvPr id="21" name="Oval 43">
              <a:extLst>
                <a:ext uri="{FF2B5EF4-FFF2-40B4-BE49-F238E27FC236}">
                  <a16:creationId xmlns:a16="http://schemas.microsoft.com/office/drawing/2014/main" id="{7D84DCC0-5095-453D-B12B-4B967734BB1C}"/>
                </a:ext>
              </a:extLst>
            </p:cNvPr>
            <p:cNvSpPr>
              <a:spLocks noChangeArrowheads="1"/>
            </p:cNvSpPr>
            <p:nvPr/>
          </p:nvSpPr>
          <p:spPr bwMode="auto">
            <a:xfrm>
              <a:off x="316573" y="81374"/>
              <a:ext cx="90038" cy="111224"/>
            </a:xfrm>
            <a:prstGeom prst="ellipse">
              <a:avLst/>
            </a:pr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US" dirty="0">
                <a:latin typeface="Gill Sans MT" panose="020B0502020104020203" pitchFamily="34" charset="0"/>
                <a:sym typeface="Gill Sans MT" panose="020B0502020104020203" pitchFamily="34" charset="0"/>
              </a:endParaRPr>
            </a:p>
          </p:txBody>
        </p:sp>
      </p:grpSp>
    </p:spTree>
    <p:extLst>
      <p:ext uri="{BB962C8B-B14F-4D97-AF65-F5344CB8AC3E}">
        <p14:creationId xmlns:p14="http://schemas.microsoft.com/office/powerpoint/2010/main" val="1472981089"/>
      </p:ext>
    </p:extLst>
  </p:cSld>
  <p:clrMapOvr>
    <a:masterClrMapping/>
  </p:clrMapOvr>
  <p:extLst mod="1">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PPT Slide with a Chart</a:t>
            </a:r>
          </a:p>
        </p:txBody>
      </p:sp>
      <p:sp>
        <p:nvSpPr>
          <p:cNvPr id="6" name="Slide Number Placeholder 5"/>
          <p:cNvSpPr>
            <a:spLocks noGrp="1"/>
          </p:cNvSpPr>
          <p:nvPr>
            <p:ph type="sldNum" sz="quarter" idx="12"/>
          </p:nvPr>
        </p:nvSpPr>
        <p:spPr/>
        <p:txBody>
          <a:bodyPr/>
          <a:lstStyle>
            <a:lvl1pPr>
              <a:defRPr b="1">
                <a:solidFill>
                  <a:srgbClr val="BA0C2F"/>
                </a:solidFill>
              </a:defRPr>
            </a:lvl1pPr>
          </a:lstStyle>
          <a:p>
            <a:fld id="{AFB4637D-E648-4D47-95AC-4BFF987C325D}" type="slidenum">
              <a:rPr lang="en-US" smtClean="0"/>
              <a:pPr/>
              <a:t>‹#›</a:t>
            </a:fld>
            <a:endParaRPr lang="en-US" dirty="0"/>
          </a:p>
        </p:txBody>
      </p:sp>
      <p:sp>
        <p:nvSpPr>
          <p:cNvPr id="5" name="Chart Placeholder 4">
            <a:extLst>
              <a:ext uri="{FF2B5EF4-FFF2-40B4-BE49-F238E27FC236}">
                <a16:creationId xmlns:a16="http://schemas.microsoft.com/office/drawing/2014/main" id="{9EF5820D-B49E-4DDB-9466-EDC583558FF6}"/>
              </a:ext>
            </a:extLst>
          </p:cNvPr>
          <p:cNvSpPr>
            <a:spLocks noGrp="1"/>
          </p:cNvSpPr>
          <p:nvPr>
            <p:ph type="chart" sz="quarter" idx="13"/>
          </p:nvPr>
        </p:nvSpPr>
        <p:spPr>
          <a:xfrm>
            <a:off x="616099" y="1781503"/>
            <a:ext cx="7729240" cy="4275605"/>
          </a:xfrm>
        </p:spPr>
        <p:txBody>
          <a:bodyPr/>
          <a:lstStyle>
            <a:lvl1pPr marL="0" indent="0">
              <a:buFontTx/>
              <a:buNone/>
              <a:defRPr/>
            </a:lvl1pPr>
          </a:lstStyle>
          <a:p>
            <a:r>
              <a:rPr lang="en-US"/>
              <a:t>Click icon to add chart</a:t>
            </a:r>
            <a:endParaRPr lang="en-US" dirty="0"/>
          </a:p>
        </p:txBody>
      </p:sp>
    </p:spTree>
    <p:custDataLst>
      <p:tags r:id="rId1"/>
    </p:custDataLst>
    <p:extLst>
      <p:ext uri="{BB962C8B-B14F-4D97-AF65-F5344CB8AC3E}">
        <p14:creationId xmlns:p14="http://schemas.microsoft.com/office/powerpoint/2010/main" val="148006989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_Two Bulleted Lists">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62326CE5-7B79-4D0F-BE25-0C7C6EF3F186}"/>
              </a:ext>
            </a:extLst>
          </p:cNvPr>
          <p:cNvGrpSpPr/>
          <p:nvPr/>
        </p:nvGrpSpPr>
        <p:grpSpPr>
          <a:xfrm>
            <a:off x="0" y="759278"/>
            <a:ext cx="5476434" cy="5607453"/>
            <a:chOff x="0" y="774700"/>
            <a:chExt cx="5588000" cy="5721350"/>
          </a:xfrm>
          <a:solidFill>
            <a:schemeClr val="accent2"/>
          </a:solidFill>
        </p:grpSpPr>
        <p:sp>
          <p:nvSpPr>
            <p:cNvPr id="9" name="Flowchart: Delay 8">
              <a:extLst>
                <a:ext uri="{FF2B5EF4-FFF2-40B4-BE49-F238E27FC236}">
                  <a16:creationId xmlns:a16="http://schemas.microsoft.com/office/drawing/2014/main" id="{33270099-48B6-4148-B2DB-6DCFDB22C1A2}"/>
                </a:ext>
              </a:extLst>
            </p:cNvPr>
            <p:cNvSpPr>
              <a:spLocks/>
            </p:cNvSpPr>
            <p:nvPr userDrawn="1"/>
          </p:nvSpPr>
          <p:spPr>
            <a:xfrm>
              <a:off x="463550" y="774700"/>
              <a:ext cx="5124450" cy="5721350"/>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68"/>
            </a:p>
          </p:txBody>
        </p:sp>
        <p:sp>
          <p:nvSpPr>
            <p:cNvPr id="5" name="Rectangle 4">
              <a:extLst>
                <a:ext uri="{FF2B5EF4-FFF2-40B4-BE49-F238E27FC236}">
                  <a16:creationId xmlns:a16="http://schemas.microsoft.com/office/drawing/2014/main" id="{C810FC02-1017-4678-B751-DB5845F62959}"/>
                </a:ext>
              </a:extLst>
            </p:cNvPr>
            <p:cNvSpPr>
              <a:spLocks/>
            </p:cNvSpPr>
            <p:nvPr userDrawn="1"/>
          </p:nvSpPr>
          <p:spPr>
            <a:xfrm>
              <a:off x="0" y="774700"/>
              <a:ext cx="495300" cy="57213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68"/>
            </a:p>
          </p:txBody>
        </p:sp>
      </p:grpSp>
      <p:sp>
        <p:nvSpPr>
          <p:cNvPr id="2" name="Title 1"/>
          <p:cNvSpPr>
            <a:spLocks noGrp="1"/>
          </p:cNvSpPr>
          <p:nvPr>
            <p:ph type="title" hasCustomPrompt="1"/>
          </p:nvPr>
        </p:nvSpPr>
        <p:spPr/>
        <p:txBody>
          <a:bodyPr/>
          <a:lstStyle>
            <a:lvl1pPr>
              <a:defRPr/>
            </a:lvl1pPr>
          </a:lstStyle>
          <a:p>
            <a:r>
              <a:rPr lang="en-US" dirty="0"/>
              <a:t>PPT Slide with Two Columns of Bullets</a:t>
            </a:r>
          </a:p>
        </p:txBody>
      </p:sp>
      <p:sp>
        <p:nvSpPr>
          <p:cNvPr id="7" name="Slide Number Placeholder 6"/>
          <p:cNvSpPr>
            <a:spLocks noGrp="1"/>
          </p:cNvSpPr>
          <p:nvPr>
            <p:ph type="sldNum" sz="quarter" idx="12"/>
          </p:nvPr>
        </p:nvSpPr>
        <p:spPr/>
        <p:txBody>
          <a:bodyPr/>
          <a:lstStyle/>
          <a:p>
            <a:fld id="{AFB4637D-E648-4D47-95AC-4BFF987C325D}" type="slidenum">
              <a:rPr lang="en-US" smtClean="0"/>
              <a:t>‹#›</a:t>
            </a:fld>
            <a:endParaRPr lang="en-US" dirty="0"/>
          </a:p>
        </p:txBody>
      </p:sp>
    </p:spTree>
    <p:custDataLst>
      <p:tags r:id="rId1"/>
    </p:custDataLst>
    <p:extLst>
      <p:ext uri="{BB962C8B-B14F-4D97-AF65-F5344CB8AC3E}">
        <p14:creationId xmlns:p14="http://schemas.microsoft.com/office/powerpoint/2010/main" val="270639298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2_Two Bulleted Lists">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62326CE5-7B79-4D0F-BE25-0C7C6EF3F186}"/>
              </a:ext>
            </a:extLst>
          </p:cNvPr>
          <p:cNvGrpSpPr/>
          <p:nvPr/>
        </p:nvGrpSpPr>
        <p:grpSpPr>
          <a:xfrm>
            <a:off x="0" y="759278"/>
            <a:ext cx="5476434" cy="5607453"/>
            <a:chOff x="0" y="774700"/>
            <a:chExt cx="5588000" cy="5721350"/>
          </a:xfrm>
          <a:solidFill>
            <a:schemeClr val="accent3"/>
          </a:solidFill>
        </p:grpSpPr>
        <p:sp>
          <p:nvSpPr>
            <p:cNvPr id="9" name="Flowchart: Delay 8">
              <a:extLst>
                <a:ext uri="{FF2B5EF4-FFF2-40B4-BE49-F238E27FC236}">
                  <a16:creationId xmlns:a16="http://schemas.microsoft.com/office/drawing/2014/main" id="{33270099-48B6-4148-B2DB-6DCFDB22C1A2}"/>
                </a:ext>
              </a:extLst>
            </p:cNvPr>
            <p:cNvSpPr>
              <a:spLocks/>
            </p:cNvSpPr>
            <p:nvPr userDrawn="1"/>
          </p:nvSpPr>
          <p:spPr>
            <a:xfrm>
              <a:off x="463550" y="774700"/>
              <a:ext cx="5124450" cy="5721350"/>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68"/>
            </a:p>
          </p:txBody>
        </p:sp>
        <p:sp>
          <p:nvSpPr>
            <p:cNvPr id="5" name="Rectangle 4">
              <a:extLst>
                <a:ext uri="{FF2B5EF4-FFF2-40B4-BE49-F238E27FC236}">
                  <a16:creationId xmlns:a16="http://schemas.microsoft.com/office/drawing/2014/main" id="{C810FC02-1017-4678-B751-DB5845F62959}"/>
                </a:ext>
              </a:extLst>
            </p:cNvPr>
            <p:cNvSpPr>
              <a:spLocks/>
            </p:cNvSpPr>
            <p:nvPr userDrawn="1"/>
          </p:nvSpPr>
          <p:spPr>
            <a:xfrm>
              <a:off x="0" y="774700"/>
              <a:ext cx="495300" cy="57213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68"/>
            </a:p>
          </p:txBody>
        </p:sp>
      </p:grpSp>
      <p:sp>
        <p:nvSpPr>
          <p:cNvPr id="2" name="Title 1"/>
          <p:cNvSpPr>
            <a:spLocks noGrp="1"/>
          </p:cNvSpPr>
          <p:nvPr>
            <p:ph type="title" hasCustomPrompt="1"/>
          </p:nvPr>
        </p:nvSpPr>
        <p:spPr/>
        <p:txBody>
          <a:bodyPr/>
          <a:lstStyle>
            <a:lvl1pPr>
              <a:defRPr/>
            </a:lvl1pPr>
          </a:lstStyle>
          <a:p>
            <a:r>
              <a:rPr lang="en-US" dirty="0"/>
              <a:t>PPT Slide with Two Columns of Bullets</a:t>
            </a:r>
          </a:p>
        </p:txBody>
      </p:sp>
      <p:sp>
        <p:nvSpPr>
          <p:cNvPr id="7" name="Slide Number Placeholder 6"/>
          <p:cNvSpPr>
            <a:spLocks noGrp="1"/>
          </p:cNvSpPr>
          <p:nvPr>
            <p:ph type="sldNum" sz="quarter" idx="12"/>
          </p:nvPr>
        </p:nvSpPr>
        <p:spPr/>
        <p:txBody>
          <a:bodyPr/>
          <a:lstStyle/>
          <a:p>
            <a:fld id="{AFB4637D-E648-4D47-95AC-4BFF987C325D}" type="slidenum">
              <a:rPr lang="en-US" smtClean="0"/>
              <a:t>‹#›</a:t>
            </a:fld>
            <a:endParaRPr lang="en-US" dirty="0"/>
          </a:p>
        </p:txBody>
      </p:sp>
    </p:spTree>
    <p:custDataLst>
      <p:tags r:id="rId1"/>
    </p:custDataLst>
    <p:extLst>
      <p:ext uri="{BB962C8B-B14F-4D97-AF65-F5344CB8AC3E}">
        <p14:creationId xmlns:p14="http://schemas.microsoft.com/office/powerpoint/2010/main" val="241030888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3_Two Bulleted Lists">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62326CE5-7B79-4D0F-BE25-0C7C6EF3F186}"/>
              </a:ext>
            </a:extLst>
          </p:cNvPr>
          <p:cNvGrpSpPr/>
          <p:nvPr/>
        </p:nvGrpSpPr>
        <p:grpSpPr>
          <a:xfrm>
            <a:off x="0" y="759278"/>
            <a:ext cx="5476434" cy="5607453"/>
            <a:chOff x="0" y="774700"/>
            <a:chExt cx="5588000" cy="5721350"/>
          </a:xfrm>
          <a:solidFill>
            <a:schemeClr val="accent5"/>
          </a:solidFill>
        </p:grpSpPr>
        <p:sp>
          <p:nvSpPr>
            <p:cNvPr id="9" name="Flowchart: Delay 8">
              <a:extLst>
                <a:ext uri="{FF2B5EF4-FFF2-40B4-BE49-F238E27FC236}">
                  <a16:creationId xmlns:a16="http://schemas.microsoft.com/office/drawing/2014/main" id="{33270099-48B6-4148-B2DB-6DCFDB22C1A2}"/>
                </a:ext>
              </a:extLst>
            </p:cNvPr>
            <p:cNvSpPr>
              <a:spLocks/>
            </p:cNvSpPr>
            <p:nvPr userDrawn="1"/>
          </p:nvSpPr>
          <p:spPr>
            <a:xfrm>
              <a:off x="463550" y="774700"/>
              <a:ext cx="5124450" cy="5721350"/>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68"/>
            </a:p>
          </p:txBody>
        </p:sp>
        <p:sp>
          <p:nvSpPr>
            <p:cNvPr id="5" name="Rectangle 4">
              <a:extLst>
                <a:ext uri="{FF2B5EF4-FFF2-40B4-BE49-F238E27FC236}">
                  <a16:creationId xmlns:a16="http://schemas.microsoft.com/office/drawing/2014/main" id="{C810FC02-1017-4678-B751-DB5845F62959}"/>
                </a:ext>
              </a:extLst>
            </p:cNvPr>
            <p:cNvSpPr>
              <a:spLocks/>
            </p:cNvSpPr>
            <p:nvPr userDrawn="1"/>
          </p:nvSpPr>
          <p:spPr>
            <a:xfrm>
              <a:off x="0" y="774700"/>
              <a:ext cx="495300" cy="57213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68"/>
            </a:p>
          </p:txBody>
        </p:sp>
      </p:grpSp>
      <p:sp>
        <p:nvSpPr>
          <p:cNvPr id="2" name="Title 1"/>
          <p:cNvSpPr>
            <a:spLocks noGrp="1"/>
          </p:cNvSpPr>
          <p:nvPr>
            <p:ph type="title" hasCustomPrompt="1"/>
          </p:nvPr>
        </p:nvSpPr>
        <p:spPr/>
        <p:txBody>
          <a:bodyPr/>
          <a:lstStyle>
            <a:lvl1pPr>
              <a:defRPr/>
            </a:lvl1pPr>
          </a:lstStyle>
          <a:p>
            <a:r>
              <a:rPr lang="en-US" dirty="0"/>
              <a:t>PPT Slide with Two Columns of Bullets</a:t>
            </a:r>
          </a:p>
        </p:txBody>
      </p:sp>
      <p:sp>
        <p:nvSpPr>
          <p:cNvPr id="7" name="Slide Number Placeholder 6"/>
          <p:cNvSpPr>
            <a:spLocks noGrp="1"/>
          </p:cNvSpPr>
          <p:nvPr>
            <p:ph type="sldNum" sz="quarter" idx="12"/>
          </p:nvPr>
        </p:nvSpPr>
        <p:spPr/>
        <p:txBody>
          <a:bodyPr/>
          <a:lstStyle/>
          <a:p>
            <a:fld id="{AFB4637D-E648-4D47-95AC-4BFF987C325D}" type="slidenum">
              <a:rPr lang="en-US" smtClean="0"/>
              <a:t>‹#›</a:t>
            </a:fld>
            <a:endParaRPr lang="en-US" dirty="0"/>
          </a:p>
        </p:txBody>
      </p:sp>
    </p:spTree>
    <p:custDataLst>
      <p:tags r:id="rId1"/>
    </p:custDataLst>
    <p:extLst>
      <p:ext uri="{BB962C8B-B14F-4D97-AF65-F5344CB8AC3E}">
        <p14:creationId xmlns:p14="http://schemas.microsoft.com/office/powerpoint/2010/main" val="41610511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4_Two Bulleted Lists">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62326CE5-7B79-4D0F-BE25-0C7C6EF3F186}"/>
              </a:ext>
            </a:extLst>
          </p:cNvPr>
          <p:cNvGrpSpPr/>
          <p:nvPr/>
        </p:nvGrpSpPr>
        <p:grpSpPr>
          <a:xfrm>
            <a:off x="0" y="759278"/>
            <a:ext cx="5476434" cy="5607453"/>
            <a:chOff x="0" y="774700"/>
            <a:chExt cx="5588000" cy="5721350"/>
          </a:xfrm>
          <a:solidFill>
            <a:schemeClr val="accent5">
              <a:lumMod val="60000"/>
              <a:lumOff val="40000"/>
            </a:schemeClr>
          </a:solidFill>
        </p:grpSpPr>
        <p:sp>
          <p:nvSpPr>
            <p:cNvPr id="9" name="Flowchart: Delay 8">
              <a:extLst>
                <a:ext uri="{FF2B5EF4-FFF2-40B4-BE49-F238E27FC236}">
                  <a16:creationId xmlns:a16="http://schemas.microsoft.com/office/drawing/2014/main" id="{33270099-48B6-4148-B2DB-6DCFDB22C1A2}"/>
                </a:ext>
              </a:extLst>
            </p:cNvPr>
            <p:cNvSpPr>
              <a:spLocks/>
            </p:cNvSpPr>
            <p:nvPr userDrawn="1"/>
          </p:nvSpPr>
          <p:spPr>
            <a:xfrm>
              <a:off x="463550" y="774700"/>
              <a:ext cx="5124450" cy="5721350"/>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68"/>
            </a:p>
          </p:txBody>
        </p:sp>
        <p:sp>
          <p:nvSpPr>
            <p:cNvPr id="5" name="Rectangle 4">
              <a:extLst>
                <a:ext uri="{FF2B5EF4-FFF2-40B4-BE49-F238E27FC236}">
                  <a16:creationId xmlns:a16="http://schemas.microsoft.com/office/drawing/2014/main" id="{C810FC02-1017-4678-B751-DB5845F62959}"/>
                </a:ext>
              </a:extLst>
            </p:cNvPr>
            <p:cNvSpPr>
              <a:spLocks/>
            </p:cNvSpPr>
            <p:nvPr userDrawn="1"/>
          </p:nvSpPr>
          <p:spPr>
            <a:xfrm>
              <a:off x="0" y="774700"/>
              <a:ext cx="495300" cy="57213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68"/>
            </a:p>
          </p:txBody>
        </p:sp>
      </p:grpSp>
      <p:sp>
        <p:nvSpPr>
          <p:cNvPr id="2" name="Title 1"/>
          <p:cNvSpPr>
            <a:spLocks noGrp="1"/>
          </p:cNvSpPr>
          <p:nvPr>
            <p:ph type="title" hasCustomPrompt="1"/>
          </p:nvPr>
        </p:nvSpPr>
        <p:spPr/>
        <p:txBody>
          <a:bodyPr/>
          <a:lstStyle>
            <a:lvl1pPr>
              <a:defRPr/>
            </a:lvl1pPr>
          </a:lstStyle>
          <a:p>
            <a:r>
              <a:rPr lang="en-US" dirty="0"/>
              <a:t>PPT Slide with Two Columns of Bullets</a:t>
            </a:r>
          </a:p>
        </p:txBody>
      </p:sp>
      <p:sp>
        <p:nvSpPr>
          <p:cNvPr id="7" name="Slide Number Placeholder 6"/>
          <p:cNvSpPr>
            <a:spLocks noGrp="1"/>
          </p:cNvSpPr>
          <p:nvPr>
            <p:ph type="sldNum" sz="quarter" idx="12"/>
          </p:nvPr>
        </p:nvSpPr>
        <p:spPr/>
        <p:txBody>
          <a:bodyPr/>
          <a:lstStyle/>
          <a:p>
            <a:fld id="{AFB4637D-E648-4D47-95AC-4BFF987C325D}" type="slidenum">
              <a:rPr lang="en-US" smtClean="0"/>
              <a:t>‹#›</a:t>
            </a:fld>
            <a:endParaRPr lang="en-US" dirty="0"/>
          </a:p>
        </p:txBody>
      </p:sp>
    </p:spTree>
    <p:custDataLst>
      <p:tags r:id="rId1"/>
    </p:custDataLst>
    <p:extLst>
      <p:ext uri="{BB962C8B-B14F-4D97-AF65-F5344CB8AC3E}">
        <p14:creationId xmlns:p14="http://schemas.microsoft.com/office/powerpoint/2010/main" val="695734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5_Two Bulleted Lists">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62326CE5-7B79-4D0F-BE25-0C7C6EF3F186}"/>
              </a:ext>
            </a:extLst>
          </p:cNvPr>
          <p:cNvGrpSpPr/>
          <p:nvPr/>
        </p:nvGrpSpPr>
        <p:grpSpPr>
          <a:xfrm>
            <a:off x="0" y="759278"/>
            <a:ext cx="5476434" cy="5607453"/>
            <a:chOff x="0" y="774700"/>
            <a:chExt cx="5588000" cy="5721350"/>
          </a:xfrm>
          <a:solidFill>
            <a:schemeClr val="accent4"/>
          </a:solidFill>
        </p:grpSpPr>
        <p:sp>
          <p:nvSpPr>
            <p:cNvPr id="9" name="Flowchart: Delay 8">
              <a:extLst>
                <a:ext uri="{FF2B5EF4-FFF2-40B4-BE49-F238E27FC236}">
                  <a16:creationId xmlns:a16="http://schemas.microsoft.com/office/drawing/2014/main" id="{33270099-48B6-4148-B2DB-6DCFDB22C1A2}"/>
                </a:ext>
              </a:extLst>
            </p:cNvPr>
            <p:cNvSpPr>
              <a:spLocks/>
            </p:cNvSpPr>
            <p:nvPr userDrawn="1"/>
          </p:nvSpPr>
          <p:spPr>
            <a:xfrm>
              <a:off x="463550" y="774700"/>
              <a:ext cx="5124450" cy="5721350"/>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68"/>
            </a:p>
          </p:txBody>
        </p:sp>
        <p:sp>
          <p:nvSpPr>
            <p:cNvPr id="5" name="Rectangle 4">
              <a:extLst>
                <a:ext uri="{FF2B5EF4-FFF2-40B4-BE49-F238E27FC236}">
                  <a16:creationId xmlns:a16="http://schemas.microsoft.com/office/drawing/2014/main" id="{C810FC02-1017-4678-B751-DB5845F62959}"/>
                </a:ext>
              </a:extLst>
            </p:cNvPr>
            <p:cNvSpPr>
              <a:spLocks/>
            </p:cNvSpPr>
            <p:nvPr userDrawn="1"/>
          </p:nvSpPr>
          <p:spPr>
            <a:xfrm>
              <a:off x="0" y="774700"/>
              <a:ext cx="495300" cy="57213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68"/>
            </a:p>
          </p:txBody>
        </p:sp>
      </p:grpSp>
      <p:sp>
        <p:nvSpPr>
          <p:cNvPr id="2" name="Title 1"/>
          <p:cNvSpPr>
            <a:spLocks noGrp="1"/>
          </p:cNvSpPr>
          <p:nvPr>
            <p:ph type="title" hasCustomPrompt="1"/>
          </p:nvPr>
        </p:nvSpPr>
        <p:spPr/>
        <p:txBody>
          <a:bodyPr/>
          <a:lstStyle>
            <a:lvl1pPr>
              <a:defRPr/>
            </a:lvl1pPr>
          </a:lstStyle>
          <a:p>
            <a:r>
              <a:rPr lang="en-US" dirty="0"/>
              <a:t>PPT Slide with Two Columns of Bullets</a:t>
            </a:r>
          </a:p>
        </p:txBody>
      </p:sp>
      <p:sp>
        <p:nvSpPr>
          <p:cNvPr id="7" name="Slide Number Placeholder 6"/>
          <p:cNvSpPr>
            <a:spLocks noGrp="1"/>
          </p:cNvSpPr>
          <p:nvPr>
            <p:ph type="sldNum" sz="quarter" idx="12"/>
          </p:nvPr>
        </p:nvSpPr>
        <p:spPr/>
        <p:txBody>
          <a:bodyPr/>
          <a:lstStyle/>
          <a:p>
            <a:fld id="{AFB4637D-E648-4D47-95AC-4BFF987C325D}" type="slidenum">
              <a:rPr lang="en-US" smtClean="0"/>
              <a:t>‹#›</a:t>
            </a:fld>
            <a:endParaRPr lang="en-US" dirty="0"/>
          </a:p>
        </p:txBody>
      </p:sp>
    </p:spTree>
    <p:custDataLst>
      <p:tags r:id="rId1"/>
    </p:custDataLst>
    <p:extLst>
      <p:ext uri="{BB962C8B-B14F-4D97-AF65-F5344CB8AC3E}">
        <p14:creationId xmlns:p14="http://schemas.microsoft.com/office/powerpoint/2010/main" val="259914246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6_Two Bulleted Lists">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62326CE5-7B79-4D0F-BE25-0C7C6EF3F186}"/>
              </a:ext>
            </a:extLst>
          </p:cNvPr>
          <p:cNvGrpSpPr/>
          <p:nvPr/>
        </p:nvGrpSpPr>
        <p:grpSpPr>
          <a:xfrm>
            <a:off x="0" y="759278"/>
            <a:ext cx="5476434" cy="5607453"/>
            <a:chOff x="0" y="774700"/>
            <a:chExt cx="5588000" cy="5721350"/>
          </a:xfrm>
          <a:solidFill>
            <a:schemeClr val="accent1">
              <a:lumMod val="60000"/>
              <a:lumOff val="40000"/>
            </a:schemeClr>
          </a:solidFill>
        </p:grpSpPr>
        <p:sp>
          <p:nvSpPr>
            <p:cNvPr id="9" name="Flowchart: Delay 8">
              <a:extLst>
                <a:ext uri="{FF2B5EF4-FFF2-40B4-BE49-F238E27FC236}">
                  <a16:creationId xmlns:a16="http://schemas.microsoft.com/office/drawing/2014/main" id="{33270099-48B6-4148-B2DB-6DCFDB22C1A2}"/>
                </a:ext>
              </a:extLst>
            </p:cNvPr>
            <p:cNvSpPr>
              <a:spLocks/>
            </p:cNvSpPr>
            <p:nvPr userDrawn="1"/>
          </p:nvSpPr>
          <p:spPr>
            <a:xfrm>
              <a:off x="463550" y="774700"/>
              <a:ext cx="5124450" cy="5721350"/>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68"/>
            </a:p>
          </p:txBody>
        </p:sp>
        <p:sp>
          <p:nvSpPr>
            <p:cNvPr id="5" name="Rectangle 4">
              <a:extLst>
                <a:ext uri="{FF2B5EF4-FFF2-40B4-BE49-F238E27FC236}">
                  <a16:creationId xmlns:a16="http://schemas.microsoft.com/office/drawing/2014/main" id="{C810FC02-1017-4678-B751-DB5845F62959}"/>
                </a:ext>
              </a:extLst>
            </p:cNvPr>
            <p:cNvSpPr>
              <a:spLocks/>
            </p:cNvSpPr>
            <p:nvPr userDrawn="1"/>
          </p:nvSpPr>
          <p:spPr>
            <a:xfrm>
              <a:off x="0" y="774700"/>
              <a:ext cx="495300" cy="57213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68"/>
            </a:p>
          </p:txBody>
        </p:sp>
      </p:grpSp>
      <p:sp>
        <p:nvSpPr>
          <p:cNvPr id="2" name="Title 1"/>
          <p:cNvSpPr>
            <a:spLocks noGrp="1"/>
          </p:cNvSpPr>
          <p:nvPr>
            <p:ph type="title" hasCustomPrompt="1"/>
          </p:nvPr>
        </p:nvSpPr>
        <p:spPr/>
        <p:txBody>
          <a:bodyPr/>
          <a:lstStyle>
            <a:lvl1pPr>
              <a:defRPr/>
            </a:lvl1pPr>
          </a:lstStyle>
          <a:p>
            <a:r>
              <a:rPr lang="en-US" dirty="0"/>
              <a:t>PPT Slide with Two Columns of Bullets</a:t>
            </a:r>
          </a:p>
        </p:txBody>
      </p:sp>
      <p:sp>
        <p:nvSpPr>
          <p:cNvPr id="7" name="Slide Number Placeholder 6"/>
          <p:cNvSpPr>
            <a:spLocks noGrp="1"/>
          </p:cNvSpPr>
          <p:nvPr>
            <p:ph type="sldNum" sz="quarter" idx="12"/>
          </p:nvPr>
        </p:nvSpPr>
        <p:spPr/>
        <p:txBody>
          <a:bodyPr/>
          <a:lstStyle/>
          <a:p>
            <a:fld id="{AFB4637D-E648-4D47-95AC-4BFF987C325D}" type="slidenum">
              <a:rPr lang="en-US" smtClean="0"/>
              <a:t>‹#›</a:t>
            </a:fld>
            <a:endParaRPr lang="en-US" dirty="0"/>
          </a:p>
        </p:txBody>
      </p:sp>
    </p:spTree>
    <p:custDataLst>
      <p:tags r:id="rId1"/>
    </p:custDataLst>
    <p:extLst>
      <p:ext uri="{BB962C8B-B14F-4D97-AF65-F5344CB8AC3E}">
        <p14:creationId xmlns:p14="http://schemas.microsoft.com/office/powerpoint/2010/main" val="78024992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7_Two Bulleted Lists">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62326CE5-7B79-4D0F-BE25-0C7C6EF3F186}"/>
              </a:ext>
            </a:extLst>
          </p:cNvPr>
          <p:cNvGrpSpPr/>
          <p:nvPr/>
        </p:nvGrpSpPr>
        <p:grpSpPr>
          <a:xfrm>
            <a:off x="0" y="759278"/>
            <a:ext cx="5476434" cy="5607453"/>
            <a:chOff x="0" y="774700"/>
            <a:chExt cx="5588000" cy="5721350"/>
          </a:xfrm>
          <a:solidFill>
            <a:schemeClr val="tx2">
              <a:lumMod val="50000"/>
            </a:schemeClr>
          </a:solidFill>
        </p:grpSpPr>
        <p:sp>
          <p:nvSpPr>
            <p:cNvPr id="9" name="Flowchart: Delay 8">
              <a:extLst>
                <a:ext uri="{FF2B5EF4-FFF2-40B4-BE49-F238E27FC236}">
                  <a16:creationId xmlns:a16="http://schemas.microsoft.com/office/drawing/2014/main" id="{33270099-48B6-4148-B2DB-6DCFDB22C1A2}"/>
                </a:ext>
              </a:extLst>
            </p:cNvPr>
            <p:cNvSpPr>
              <a:spLocks/>
            </p:cNvSpPr>
            <p:nvPr userDrawn="1"/>
          </p:nvSpPr>
          <p:spPr>
            <a:xfrm>
              <a:off x="463550" y="774700"/>
              <a:ext cx="5124450" cy="5721350"/>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68"/>
            </a:p>
          </p:txBody>
        </p:sp>
        <p:sp>
          <p:nvSpPr>
            <p:cNvPr id="5" name="Rectangle 4">
              <a:extLst>
                <a:ext uri="{FF2B5EF4-FFF2-40B4-BE49-F238E27FC236}">
                  <a16:creationId xmlns:a16="http://schemas.microsoft.com/office/drawing/2014/main" id="{C810FC02-1017-4678-B751-DB5845F62959}"/>
                </a:ext>
              </a:extLst>
            </p:cNvPr>
            <p:cNvSpPr>
              <a:spLocks/>
            </p:cNvSpPr>
            <p:nvPr userDrawn="1"/>
          </p:nvSpPr>
          <p:spPr>
            <a:xfrm>
              <a:off x="0" y="774700"/>
              <a:ext cx="495300" cy="57213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68"/>
            </a:p>
          </p:txBody>
        </p:sp>
      </p:grpSp>
      <p:sp>
        <p:nvSpPr>
          <p:cNvPr id="2" name="Title 1"/>
          <p:cNvSpPr>
            <a:spLocks noGrp="1"/>
          </p:cNvSpPr>
          <p:nvPr>
            <p:ph type="title" hasCustomPrompt="1"/>
          </p:nvPr>
        </p:nvSpPr>
        <p:spPr/>
        <p:txBody>
          <a:bodyPr/>
          <a:lstStyle>
            <a:lvl1pPr>
              <a:defRPr/>
            </a:lvl1pPr>
          </a:lstStyle>
          <a:p>
            <a:r>
              <a:rPr lang="en-US" dirty="0"/>
              <a:t>PPT Slide with Two Columns of Bullets</a:t>
            </a:r>
          </a:p>
        </p:txBody>
      </p:sp>
      <p:sp>
        <p:nvSpPr>
          <p:cNvPr id="7" name="Slide Number Placeholder 6"/>
          <p:cNvSpPr>
            <a:spLocks noGrp="1"/>
          </p:cNvSpPr>
          <p:nvPr>
            <p:ph type="sldNum" sz="quarter" idx="12"/>
          </p:nvPr>
        </p:nvSpPr>
        <p:spPr/>
        <p:txBody>
          <a:bodyPr/>
          <a:lstStyle/>
          <a:p>
            <a:fld id="{AFB4637D-E648-4D47-95AC-4BFF987C325D}" type="slidenum">
              <a:rPr lang="en-US" smtClean="0"/>
              <a:t>‹#›</a:t>
            </a:fld>
            <a:endParaRPr lang="en-US" dirty="0"/>
          </a:p>
        </p:txBody>
      </p:sp>
    </p:spTree>
    <p:custDataLst>
      <p:tags r:id="rId1"/>
    </p:custDataLst>
    <p:extLst>
      <p:ext uri="{BB962C8B-B14F-4D97-AF65-F5344CB8AC3E}">
        <p14:creationId xmlns:p14="http://schemas.microsoft.com/office/powerpoint/2010/main" val="119486776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8_Two Bulleted Lists">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62326CE5-7B79-4D0F-BE25-0C7C6EF3F186}"/>
              </a:ext>
            </a:extLst>
          </p:cNvPr>
          <p:cNvGrpSpPr/>
          <p:nvPr/>
        </p:nvGrpSpPr>
        <p:grpSpPr>
          <a:xfrm>
            <a:off x="0" y="759278"/>
            <a:ext cx="5476434" cy="5607453"/>
            <a:chOff x="0" y="774700"/>
            <a:chExt cx="5588000" cy="5721350"/>
          </a:xfrm>
          <a:solidFill>
            <a:schemeClr val="bg1">
              <a:lumMod val="50000"/>
            </a:schemeClr>
          </a:solidFill>
        </p:grpSpPr>
        <p:sp>
          <p:nvSpPr>
            <p:cNvPr id="9" name="Flowchart: Delay 8">
              <a:extLst>
                <a:ext uri="{FF2B5EF4-FFF2-40B4-BE49-F238E27FC236}">
                  <a16:creationId xmlns:a16="http://schemas.microsoft.com/office/drawing/2014/main" id="{33270099-48B6-4148-B2DB-6DCFDB22C1A2}"/>
                </a:ext>
              </a:extLst>
            </p:cNvPr>
            <p:cNvSpPr>
              <a:spLocks/>
            </p:cNvSpPr>
            <p:nvPr userDrawn="1"/>
          </p:nvSpPr>
          <p:spPr>
            <a:xfrm>
              <a:off x="463550" y="774700"/>
              <a:ext cx="5124450" cy="5721350"/>
            </a:xfrm>
            <a:prstGeom prst="flowChartDelay">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68"/>
            </a:p>
          </p:txBody>
        </p:sp>
        <p:sp>
          <p:nvSpPr>
            <p:cNvPr id="5" name="Rectangle 4">
              <a:extLst>
                <a:ext uri="{FF2B5EF4-FFF2-40B4-BE49-F238E27FC236}">
                  <a16:creationId xmlns:a16="http://schemas.microsoft.com/office/drawing/2014/main" id="{C810FC02-1017-4678-B751-DB5845F62959}"/>
                </a:ext>
              </a:extLst>
            </p:cNvPr>
            <p:cNvSpPr>
              <a:spLocks/>
            </p:cNvSpPr>
            <p:nvPr userDrawn="1"/>
          </p:nvSpPr>
          <p:spPr>
            <a:xfrm>
              <a:off x="0" y="774700"/>
              <a:ext cx="495300" cy="572135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568"/>
            </a:p>
          </p:txBody>
        </p:sp>
      </p:grpSp>
      <p:sp>
        <p:nvSpPr>
          <p:cNvPr id="2" name="Title 1"/>
          <p:cNvSpPr>
            <a:spLocks noGrp="1"/>
          </p:cNvSpPr>
          <p:nvPr>
            <p:ph type="title" hasCustomPrompt="1"/>
          </p:nvPr>
        </p:nvSpPr>
        <p:spPr/>
        <p:txBody>
          <a:bodyPr/>
          <a:lstStyle>
            <a:lvl1pPr>
              <a:defRPr/>
            </a:lvl1pPr>
          </a:lstStyle>
          <a:p>
            <a:r>
              <a:rPr lang="en-US" dirty="0"/>
              <a:t>PPT Slide with Two Columns of Bullets</a:t>
            </a:r>
          </a:p>
        </p:txBody>
      </p:sp>
      <p:sp>
        <p:nvSpPr>
          <p:cNvPr id="7" name="Slide Number Placeholder 6"/>
          <p:cNvSpPr>
            <a:spLocks noGrp="1"/>
          </p:cNvSpPr>
          <p:nvPr>
            <p:ph type="sldNum" sz="quarter" idx="12"/>
          </p:nvPr>
        </p:nvSpPr>
        <p:spPr/>
        <p:txBody>
          <a:bodyPr/>
          <a:lstStyle/>
          <a:p>
            <a:fld id="{AFB4637D-E648-4D47-95AC-4BFF987C325D}" type="slidenum">
              <a:rPr lang="en-US" smtClean="0"/>
              <a:t>‹#›</a:t>
            </a:fld>
            <a:endParaRPr lang="en-US" dirty="0"/>
          </a:p>
        </p:txBody>
      </p:sp>
    </p:spTree>
    <p:custDataLst>
      <p:tags r:id="rId1"/>
    </p:custDataLst>
    <p:extLst>
      <p:ext uri="{BB962C8B-B14F-4D97-AF65-F5344CB8AC3E}">
        <p14:creationId xmlns:p14="http://schemas.microsoft.com/office/powerpoint/2010/main" val="10476161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Photo and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PPT Slide with a Photo and Bulleted List</a:t>
            </a:r>
          </a:p>
        </p:txBody>
      </p:sp>
      <p:sp>
        <p:nvSpPr>
          <p:cNvPr id="4" name="Content Placeholder 3"/>
          <p:cNvSpPr>
            <a:spLocks noGrp="1"/>
          </p:cNvSpPr>
          <p:nvPr>
            <p:ph sz="half" idx="2" hasCustomPrompt="1"/>
          </p:nvPr>
        </p:nvSpPr>
        <p:spPr>
          <a:xfrm>
            <a:off x="4671149" y="1789282"/>
            <a:ext cx="3674190" cy="4264714"/>
          </a:xfrm>
        </p:spPr>
        <p:txBody>
          <a:bodyPr/>
          <a:lstStyle>
            <a:lvl1pPr>
              <a:defRPr/>
            </a:lvl1pPr>
          </a:lstStyle>
          <a:p>
            <a:pPr lvl="0"/>
            <a:r>
              <a:rPr lang="en-US" dirty="0"/>
              <a:t>Bullet Points</a:t>
            </a:r>
          </a:p>
        </p:txBody>
      </p:sp>
      <p:sp>
        <p:nvSpPr>
          <p:cNvPr id="7" name="Slide Number Placeholder 6"/>
          <p:cNvSpPr>
            <a:spLocks noGrp="1"/>
          </p:cNvSpPr>
          <p:nvPr>
            <p:ph type="sldNum" sz="quarter" idx="12"/>
          </p:nvPr>
        </p:nvSpPr>
        <p:spPr/>
        <p:txBody>
          <a:bodyPr/>
          <a:lstStyle/>
          <a:p>
            <a:fld id="{AFB4637D-E648-4D47-95AC-4BFF987C325D}" type="slidenum">
              <a:rPr lang="en-US" smtClean="0"/>
              <a:t>‹#›</a:t>
            </a:fld>
            <a:endParaRPr lang="en-US" dirty="0"/>
          </a:p>
        </p:txBody>
      </p:sp>
      <p:cxnSp>
        <p:nvCxnSpPr>
          <p:cNvPr id="8" name="Straight Connector 7">
            <a:extLst>
              <a:ext uri="{FF2B5EF4-FFF2-40B4-BE49-F238E27FC236}">
                <a16:creationId xmlns:a16="http://schemas.microsoft.com/office/drawing/2014/main" id="{16F40D2F-8472-4CB4-86A9-EEC2FCE2C11B}"/>
              </a:ext>
            </a:extLst>
          </p:cNvPr>
          <p:cNvCxnSpPr/>
          <p:nvPr/>
        </p:nvCxnSpPr>
        <p:spPr>
          <a:xfrm>
            <a:off x="4480719" y="1789282"/>
            <a:ext cx="0" cy="426471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 name="Picture Placeholder 5">
            <a:extLst>
              <a:ext uri="{FF2B5EF4-FFF2-40B4-BE49-F238E27FC236}">
                <a16:creationId xmlns:a16="http://schemas.microsoft.com/office/drawing/2014/main" id="{60E5BCC9-E1AF-48AB-9C7C-0E51FB051B79}"/>
              </a:ext>
            </a:extLst>
          </p:cNvPr>
          <p:cNvSpPr>
            <a:spLocks noGrp="1"/>
          </p:cNvSpPr>
          <p:nvPr>
            <p:ph type="pic" sz="quarter" idx="13"/>
          </p:nvPr>
        </p:nvSpPr>
        <p:spPr>
          <a:xfrm>
            <a:off x="616099" y="1789281"/>
            <a:ext cx="3674812" cy="3892605"/>
          </a:xfrm>
        </p:spPr>
        <p:txBody>
          <a:bodyPr/>
          <a:lstStyle>
            <a:lvl1pPr marL="0" indent="0">
              <a:buNone/>
              <a:defRPr/>
            </a:lvl1pPr>
          </a:lstStyle>
          <a:p>
            <a:r>
              <a:rPr lang="en-US"/>
              <a:t>Click icon to add picture</a:t>
            </a:r>
            <a:endParaRPr lang="en-US" dirty="0"/>
          </a:p>
        </p:txBody>
      </p:sp>
      <p:sp>
        <p:nvSpPr>
          <p:cNvPr id="12" name="Text Placeholder 11">
            <a:extLst>
              <a:ext uri="{FF2B5EF4-FFF2-40B4-BE49-F238E27FC236}">
                <a16:creationId xmlns:a16="http://schemas.microsoft.com/office/drawing/2014/main" id="{D9BAE435-B4C5-4492-A5D7-C442FC8B4AF7}"/>
              </a:ext>
            </a:extLst>
          </p:cNvPr>
          <p:cNvSpPr>
            <a:spLocks noGrp="1"/>
          </p:cNvSpPr>
          <p:nvPr>
            <p:ph type="body" sz="quarter" idx="14" hasCustomPrompt="1"/>
          </p:nvPr>
        </p:nvSpPr>
        <p:spPr>
          <a:xfrm>
            <a:off x="616099" y="5771506"/>
            <a:ext cx="3685702" cy="282490"/>
          </a:xfrm>
        </p:spPr>
        <p:txBody>
          <a:bodyPr>
            <a:noAutofit/>
          </a:bodyPr>
          <a:lstStyle>
            <a:lvl1pPr marL="0" indent="0">
              <a:buNone/>
              <a:defRPr sz="980"/>
            </a:lvl1pPr>
            <a:lvl2pPr marL="448056" indent="0">
              <a:buNone/>
              <a:defRPr sz="980"/>
            </a:lvl2pPr>
            <a:lvl3pPr marL="896112" indent="0">
              <a:buNone/>
              <a:defRPr sz="980"/>
            </a:lvl3pPr>
            <a:lvl4pPr marL="1344168" indent="0">
              <a:buNone/>
              <a:defRPr sz="980"/>
            </a:lvl4pPr>
            <a:lvl5pPr marL="1792224" indent="0">
              <a:buNone/>
              <a:defRPr sz="980"/>
            </a:lvl5pPr>
          </a:lstStyle>
          <a:p>
            <a:pPr lvl="0"/>
            <a:r>
              <a:rPr lang="en-US" dirty="0"/>
              <a:t>Photo: credit/photographer</a:t>
            </a:r>
          </a:p>
        </p:txBody>
      </p:sp>
    </p:spTree>
    <p:custDataLst>
      <p:tags r:id="rId1"/>
    </p:custDataLst>
    <p:extLst>
      <p:ext uri="{BB962C8B-B14F-4D97-AF65-F5344CB8AC3E}">
        <p14:creationId xmlns:p14="http://schemas.microsoft.com/office/powerpoint/2010/main" val="223458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57" y="1557"/>
          <a:ext cx="1555" cy="1555"/>
        </p:xfrm>
        <a:graphic>
          <a:graphicData uri="http://schemas.openxmlformats.org/presentationml/2006/ole">
            <mc:AlternateContent xmlns:mc="http://schemas.openxmlformats.org/markup-compatibility/2006">
              <mc:Choice xmlns:v="urn:schemas-microsoft-com:vml" Requires="v">
                <p:oleObj spid="_x0000_s5218"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57" y="1557"/>
                        <a:ext cx="1555" cy="1555"/>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70026E22-07C8-4A51-A787-87EEA0F3726A}"/>
              </a:ext>
            </a:extLst>
          </p:cNvPr>
          <p:cNvSpPr/>
          <p:nvPr/>
        </p:nvSpPr>
        <p:spPr bwMode="gray">
          <a:xfrm>
            <a:off x="265" y="198"/>
            <a:ext cx="8960909" cy="723858"/>
          </a:xfrm>
          <a:prstGeom prst="rect">
            <a:avLst/>
          </a:prstGeom>
          <a:solidFill>
            <a:srgbClr val="BACEE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03">
              <a:defRPr/>
            </a:pPr>
            <a:endParaRPr lang="en-US" dirty="0">
              <a:solidFill>
                <a:srgbClr val="000000"/>
              </a:solidFill>
              <a:latin typeface="Gill Sans MT" panose="020B0502020104020203" pitchFamily="34" charset="0"/>
              <a:sym typeface="Gill Sans MT" panose="020B0502020104020203" pitchFamily="34" charset="0"/>
            </a:endParaRPr>
          </a:p>
        </p:txBody>
      </p:sp>
      <p:sp>
        <p:nvSpPr>
          <p:cNvPr id="2" name="2. Slide Title"/>
          <p:cNvSpPr>
            <a:spLocks noGrp="1"/>
          </p:cNvSpPr>
          <p:nvPr>
            <p:ph type="title"/>
          </p:nvPr>
        </p:nvSpPr>
        <p:spPr bwMode="auto">
          <a:xfrm>
            <a:off x="1720667" y="245370"/>
            <a:ext cx="7091414" cy="307777"/>
          </a:xfrm>
        </p:spPr>
        <p:txBody>
          <a:bodyPr/>
          <a:lstStyle>
            <a:lvl1pPr>
              <a:defRPr lang="x-none" sz="2000" b="1" baseline="0" dirty="0">
                <a:solidFill>
                  <a:schemeClr val="accent3"/>
                </a:solidFill>
                <a:latin typeface="Gill Sans MT" panose="020B0502020104020203" pitchFamily="34" charset="0"/>
                <a:ea typeface="+mj-ea"/>
                <a:cs typeface="+mj-cs"/>
                <a:sym typeface="Gill Sans MT" panose="020B0502020104020203" pitchFamily="34" charset="0"/>
              </a:defRPr>
            </a:lvl1pPr>
          </a:lstStyle>
          <a:p>
            <a:r>
              <a:rPr lang="en-US" dirty="0"/>
              <a:t>Click to edit Master title style</a:t>
            </a:r>
            <a:endParaRPr lang="x-none" dirty="0"/>
          </a:p>
        </p:txBody>
      </p:sp>
      <p:sp>
        <p:nvSpPr>
          <p:cNvPr id="13" name="1. On-page tracker">
            <a:extLst>
              <a:ext uri="{FF2B5EF4-FFF2-40B4-BE49-F238E27FC236}">
                <a16:creationId xmlns:a16="http://schemas.microsoft.com/office/drawing/2014/main" id="{9F334527-24C8-46DB-B914-EB26B73DDB05}"/>
              </a:ext>
            </a:extLst>
          </p:cNvPr>
          <p:cNvSpPr>
            <a:spLocks noChangeArrowheads="1"/>
          </p:cNvSpPr>
          <p:nvPr/>
        </p:nvSpPr>
        <p:spPr bwMode="gray">
          <a:xfrm>
            <a:off x="793094" y="62013"/>
            <a:ext cx="3105017" cy="1384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lvl="0" defTabSz="914303"/>
            <a:r>
              <a:rPr lang="en-US" sz="900" b="1" cap="none" dirty="0">
                <a:solidFill>
                  <a:schemeClr val="accent3"/>
                </a:solidFill>
                <a:latin typeface="Gill Sans MT" panose="020B0502020104020203" pitchFamily="34" charset="0"/>
                <a:sym typeface="Gill Sans MT" panose="020B0502020104020203" pitchFamily="34" charset="0"/>
              </a:rPr>
              <a:t>People and Processes &gt; Governance and Organizational Structure</a:t>
            </a:r>
          </a:p>
        </p:txBody>
      </p:sp>
      <p:sp>
        <p:nvSpPr>
          <p:cNvPr id="15" name="Title 1">
            <a:extLst>
              <a:ext uri="{FF2B5EF4-FFF2-40B4-BE49-F238E27FC236}">
                <a16:creationId xmlns:a16="http://schemas.microsoft.com/office/drawing/2014/main" id="{040C04BD-8A35-4D86-962E-176D3DB91647}"/>
              </a:ext>
            </a:extLst>
          </p:cNvPr>
          <p:cNvSpPr txBox="1">
            <a:spLocks/>
          </p:cNvSpPr>
          <p:nvPr/>
        </p:nvSpPr>
        <p:spPr bwMode="auto">
          <a:xfrm>
            <a:off x="793094" y="245370"/>
            <a:ext cx="45365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algn="l" defTabSz="895255" rtl="0" eaLnBrk="1" fontAlgn="base" hangingPunct="1">
              <a:spcBef>
                <a:spcPct val="0"/>
              </a:spcBef>
              <a:spcAft>
                <a:spcPct val="0"/>
              </a:spcAft>
              <a:tabLst>
                <a:tab pos="269846" algn="l"/>
              </a:tabLst>
              <a:defRPr lang="x-none" sz="2000" b="1" baseline="0" dirty="0">
                <a:solidFill>
                  <a:schemeClr val="accent3"/>
                </a:solidFill>
                <a:latin typeface="+mj-lt"/>
                <a:ea typeface="+mj-ea"/>
                <a:cs typeface="+mj-cs"/>
              </a:defRPr>
            </a:lvl1pPr>
            <a:lvl2pPr algn="l" defTabSz="895255" rtl="0" eaLnBrk="1" fontAlgn="base" hangingPunct="1">
              <a:spcBef>
                <a:spcPct val="0"/>
              </a:spcBef>
              <a:spcAft>
                <a:spcPct val="0"/>
              </a:spcAft>
              <a:defRPr lang="x-none" sz="1900" b="1">
                <a:solidFill>
                  <a:schemeClr val="tx2"/>
                </a:solidFill>
                <a:latin typeface="Arial" charset="0"/>
              </a:defRPr>
            </a:lvl2pPr>
            <a:lvl3pPr algn="l" defTabSz="895255" rtl="0" eaLnBrk="1" fontAlgn="base" hangingPunct="1">
              <a:spcBef>
                <a:spcPct val="0"/>
              </a:spcBef>
              <a:spcAft>
                <a:spcPct val="0"/>
              </a:spcAft>
              <a:defRPr lang="x-none" sz="1900" b="1">
                <a:solidFill>
                  <a:schemeClr val="tx2"/>
                </a:solidFill>
                <a:latin typeface="Arial" charset="0"/>
              </a:defRPr>
            </a:lvl3pPr>
            <a:lvl4pPr algn="l" defTabSz="895255" rtl="0" eaLnBrk="1" fontAlgn="base" hangingPunct="1">
              <a:spcBef>
                <a:spcPct val="0"/>
              </a:spcBef>
              <a:spcAft>
                <a:spcPct val="0"/>
              </a:spcAft>
              <a:defRPr lang="x-none" sz="1900" b="1">
                <a:solidFill>
                  <a:schemeClr val="tx2"/>
                </a:solidFill>
                <a:latin typeface="Arial" charset="0"/>
              </a:defRPr>
            </a:lvl4pPr>
            <a:lvl5pPr algn="l" defTabSz="895255" rtl="0" eaLnBrk="1" fontAlgn="base" hangingPunct="1">
              <a:spcBef>
                <a:spcPct val="0"/>
              </a:spcBef>
              <a:spcAft>
                <a:spcPct val="0"/>
              </a:spcAft>
              <a:defRPr lang="x-none" sz="1900" b="1">
                <a:solidFill>
                  <a:schemeClr val="tx2"/>
                </a:solidFill>
                <a:latin typeface="Arial" charset="0"/>
              </a:defRPr>
            </a:lvl5pPr>
            <a:lvl6pPr marL="457151" algn="l" defTabSz="895255" rtl="0" eaLnBrk="1" fontAlgn="base" hangingPunct="1">
              <a:spcBef>
                <a:spcPct val="0"/>
              </a:spcBef>
              <a:spcAft>
                <a:spcPct val="0"/>
              </a:spcAft>
              <a:defRPr lang="x-none" sz="1900" b="1">
                <a:solidFill>
                  <a:schemeClr val="tx2"/>
                </a:solidFill>
                <a:latin typeface="Arial" charset="0"/>
              </a:defRPr>
            </a:lvl6pPr>
            <a:lvl7pPr marL="914303" algn="l" defTabSz="895255" rtl="0" eaLnBrk="1" fontAlgn="base" hangingPunct="1">
              <a:spcBef>
                <a:spcPct val="0"/>
              </a:spcBef>
              <a:spcAft>
                <a:spcPct val="0"/>
              </a:spcAft>
              <a:defRPr lang="x-none" sz="1900" b="1">
                <a:solidFill>
                  <a:schemeClr val="tx2"/>
                </a:solidFill>
                <a:latin typeface="Arial" charset="0"/>
              </a:defRPr>
            </a:lvl7pPr>
            <a:lvl8pPr marL="1371454" algn="l" defTabSz="895255" rtl="0" eaLnBrk="1" fontAlgn="base" hangingPunct="1">
              <a:spcBef>
                <a:spcPct val="0"/>
              </a:spcBef>
              <a:spcAft>
                <a:spcPct val="0"/>
              </a:spcAft>
              <a:defRPr lang="x-none" sz="1900" b="1">
                <a:solidFill>
                  <a:schemeClr val="tx2"/>
                </a:solidFill>
                <a:latin typeface="Arial" charset="0"/>
              </a:defRPr>
            </a:lvl8pPr>
            <a:lvl9pPr marL="1828607" algn="l" defTabSz="895255" rtl="0" eaLnBrk="1" fontAlgn="base" hangingPunct="1">
              <a:spcBef>
                <a:spcPct val="0"/>
              </a:spcBef>
              <a:spcAft>
                <a:spcPct val="0"/>
              </a:spcAft>
              <a:defRPr lang="x-none" sz="1900" b="1">
                <a:solidFill>
                  <a:schemeClr val="tx2"/>
                </a:solidFill>
                <a:latin typeface="Arial" charset="0"/>
              </a:defRPr>
            </a:lvl9pPr>
          </a:lstStyle>
          <a:p>
            <a:r>
              <a:rPr lang="en-US" b="0" kern="0" dirty="0">
                <a:solidFill>
                  <a:schemeClr val="accent3"/>
                </a:solidFill>
                <a:latin typeface="Gill Sans MT" panose="020B0502020104020203" pitchFamily="34" charset="0"/>
                <a:ea typeface="+mn-ea"/>
                <a:cs typeface="+mn-cs"/>
                <a:sym typeface="Gill Sans MT" panose="020B0502020104020203" pitchFamily="34" charset="0"/>
              </a:rPr>
              <a:t>Step</a:t>
            </a:r>
          </a:p>
        </p:txBody>
      </p:sp>
      <p:grpSp>
        <p:nvGrpSpPr>
          <p:cNvPr id="16" name="Group 15">
            <a:extLst>
              <a:ext uri="{FF2B5EF4-FFF2-40B4-BE49-F238E27FC236}">
                <a16:creationId xmlns:a16="http://schemas.microsoft.com/office/drawing/2014/main" id="{5DC6D221-B3D2-407A-B7E1-8DD5514DA92A}"/>
              </a:ext>
            </a:extLst>
          </p:cNvPr>
          <p:cNvGrpSpPr/>
          <p:nvPr/>
        </p:nvGrpSpPr>
        <p:grpSpPr>
          <a:xfrm>
            <a:off x="177166" y="171624"/>
            <a:ext cx="419160" cy="383292"/>
            <a:chOff x="91477" y="81374"/>
            <a:chExt cx="541553" cy="495211"/>
          </a:xfrm>
        </p:grpSpPr>
        <p:sp>
          <p:nvSpPr>
            <p:cNvPr id="17" name="Freeform 37">
              <a:extLst>
                <a:ext uri="{FF2B5EF4-FFF2-40B4-BE49-F238E27FC236}">
                  <a16:creationId xmlns:a16="http://schemas.microsoft.com/office/drawing/2014/main" id="{E5790CFD-565F-446E-9607-C0566647F21E}"/>
                </a:ext>
              </a:extLst>
            </p:cNvPr>
            <p:cNvSpPr>
              <a:spLocks noEditPoints="1"/>
            </p:cNvSpPr>
            <p:nvPr/>
          </p:nvSpPr>
          <p:spPr bwMode="auto">
            <a:xfrm>
              <a:off x="91477" y="395184"/>
              <a:ext cx="168160" cy="181401"/>
            </a:xfrm>
            <a:custGeom>
              <a:avLst/>
              <a:gdLst>
                <a:gd name="T0" fmla="*/ 25 w 83"/>
                <a:gd name="T1" fmla="*/ 16 h 89"/>
                <a:gd name="T2" fmla="*/ 41 w 83"/>
                <a:gd name="T3" fmla="*/ 0 h 89"/>
                <a:gd name="T4" fmla="*/ 57 w 83"/>
                <a:gd name="T5" fmla="*/ 16 h 89"/>
                <a:gd name="T6" fmla="*/ 41 w 83"/>
                <a:gd name="T7" fmla="*/ 39 h 89"/>
                <a:gd name="T8" fmla="*/ 25 w 83"/>
                <a:gd name="T9" fmla="*/ 16 h 89"/>
                <a:gd name="T10" fmla="*/ 41 w 83"/>
                <a:gd name="T11" fmla="*/ 89 h 89"/>
                <a:gd name="T12" fmla="*/ 83 w 83"/>
                <a:gd name="T13" fmla="*/ 82 h 89"/>
                <a:gd name="T14" fmla="*/ 54 w 83"/>
                <a:gd name="T15" fmla="*/ 38 h 89"/>
                <a:gd name="T16" fmla="*/ 41 w 83"/>
                <a:gd name="T17" fmla="*/ 62 h 89"/>
                <a:gd name="T18" fmla="*/ 28 w 83"/>
                <a:gd name="T19" fmla="*/ 38 h 89"/>
                <a:gd name="T20" fmla="*/ 0 w 83"/>
                <a:gd name="T21" fmla="*/ 83 h 89"/>
                <a:gd name="T22" fmla="*/ 41 w 83"/>
                <a:gd name="T23"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 h="89">
                  <a:moveTo>
                    <a:pt x="25" y="16"/>
                  </a:moveTo>
                  <a:cubicBezTo>
                    <a:pt x="25" y="7"/>
                    <a:pt x="32" y="0"/>
                    <a:pt x="41" y="0"/>
                  </a:cubicBezTo>
                  <a:cubicBezTo>
                    <a:pt x="50" y="0"/>
                    <a:pt x="57" y="7"/>
                    <a:pt x="57" y="16"/>
                  </a:cubicBezTo>
                  <a:cubicBezTo>
                    <a:pt x="57" y="25"/>
                    <a:pt x="50" y="39"/>
                    <a:pt x="41" y="39"/>
                  </a:cubicBezTo>
                  <a:cubicBezTo>
                    <a:pt x="32" y="39"/>
                    <a:pt x="25" y="25"/>
                    <a:pt x="25" y="16"/>
                  </a:cubicBezTo>
                  <a:close/>
                  <a:moveTo>
                    <a:pt x="41" y="89"/>
                  </a:moveTo>
                  <a:cubicBezTo>
                    <a:pt x="62" y="89"/>
                    <a:pt x="81" y="83"/>
                    <a:pt x="83" y="82"/>
                  </a:cubicBezTo>
                  <a:cubicBezTo>
                    <a:pt x="79" y="51"/>
                    <a:pt x="68" y="38"/>
                    <a:pt x="54" y="38"/>
                  </a:cubicBezTo>
                  <a:cubicBezTo>
                    <a:pt x="54" y="38"/>
                    <a:pt x="46" y="44"/>
                    <a:pt x="41" y="62"/>
                  </a:cubicBezTo>
                  <a:cubicBezTo>
                    <a:pt x="37" y="44"/>
                    <a:pt x="28" y="38"/>
                    <a:pt x="28" y="38"/>
                  </a:cubicBezTo>
                  <a:cubicBezTo>
                    <a:pt x="14" y="38"/>
                    <a:pt x="3" y="51"/>
                    <a:pt x="0" y="83"/>
                  </a:cubicBezTo>
                  <a:cubicBezTo>
                    <a:pt x="2" y="84"/>
                    <a:pt x="21" y="89"/>
                    <a:pt x="41" y="89"/>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Gill Sans MT" panose="020B0502020104020203" pitchFamily="34" charset="0"/>
                <a:sym typeface="Gill Sans MT" panose="020B0502020104020203" pitchFamily="34" charset="0"/>
              </a:endParaRPr>
            </a:p>
          </p:txBody>
        </p:sp>
        <p:sp>
          <p:nvSpPr>
            <p:cNvPr id="18" name="Freeform 38">
              <a:extLst>
                <a:ext uri="{FF2B5EF4-FFF2-40B4-BE49-F238E27FC236}">
                  <a16:creationId xmlns:a16="http://schemas.microsoft.com/office/drawing/2014/main" id="{B664DE9C-EF94-42B4-B081-1AEC339F4DBC}"/>
                </a:ext>
              </a:extLst>
            </p:cNvPr>
            <p:cNvSpPr>
              <a:spLocks noEditPoints="1"/>
            </p:cNvSpPr>
            <p:nvPr/>
          </p:nvSpPr>
          <p:spPr bwMode="auto">
            <a:xfrm>
              <a:off x="276850" y="395184"/>
              <a:ext cx="169484" cy="181401"/>
            </a:xfrm>
            <a:custGeom>
              <a:avLst/>
              <a:gdLst>
                <a:gd name="T0" fmla="*/ 26 w 84"/>
                <a:gd name="T1" fmla="*/ 16 h 89"/>
                <a:gd name="T2" fmla="*/ 42 w 84"/>
                <a:gd name="T3" fmla="*/ 0 h 89"/>
                <a:gd name="T4" fmla="*/ 58 w 84"/>
                <a:gd name="T5" fmla="*/ 16 h 89"/>
                <a:gd name="T6" fmla="*/ 42 w 84"/>
                <a:gd name="T7" fmla="*/ 39 h 89"/>
                <a:gd name="T8" fmla="*/ 26 w 84"/>
                <a:gd name="T9" fmla="*/ 16 h 89"/>
                <a:gd name="T10" fmla="*/ 42 w 84"/>
                <a:gd name="T11" fmla="*/ 89 h 89"/>
                <a:gd name="T12" fmla="*/ 84 w 84"/>
                <a:gd name="T13" fmla="*/ 82 h 89"/>
                <a:gd name="T14" fmla="*/ 55 w 84"/>
                <a:gd name="T15" fmla="*/ 38 h 89"/>
                <a:gd name="T16" fmla="*/ 42 w 84"/>
                <a:gd name="T17" fmla="*/ 62 h 89"/>
                <a:gd name="T18" fmla="*/ 29 w 84"/>
                <a:gd name="T19" fmla="*/ 38 h 89"/>
                <a:gd name="T20" fmla="*/ 0 w 84"/>
                <a:gd name="T21" fmla="*/ 83 h 89"/>
                <a:gd name="T22" fmla="*/ 42 w 84"/>
                <a:gd name="T23"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9">
                  <a:moveTo>
                    <a:pt x="26" y="16"/>
                  </a:moveTo>
                  <a:cubicBezTo>
                    <a:pt x="26" y="7"/>
                    <a:pt x="33" y="0"/>
                    <a:pt x="42" y="0"/>
                  </a:cubicBezTo>
                  <a:cubicBezTo>
                    <a:pt x="51" y="0"/>
                    <a:pt x="58" y="7"/>
                    <a:pt x="58" y="16"/>
                  </a:cubicBezTo>
                  <a:cubicBezTo>
                    <a:pt x="58" y="25"/>
                    <a:pt x="51" y="39"/>
                    <a:pt x="42" y="39"/>
                  </a:cubicBezTo>
                  <a:cubicBezTo>
                    <a:pt x="33" y="39"/>
                    <a:pt x="26" y="25"/>
                    <a:pt x="26" y="16"/>
                  </a:cubicBezTo>
                  <a:close/>
                  <a:moveTo>
                    <a:pt x="42" y="89"/>
                  </a:moveTo>
                  <a:cubicBezTo>
                    <a:pt x="63" y="89"/>
                    <a:pt x="81" y="83"/>
                    <a:pt x="84" y="82"/>
                  </a:cubicBezTo>
                  <a:cubicBezTo>
                    <a:pt x="80" y="51"/>
                    <a:pt x="69" y="38"/>
                    <a:pt x="55" y="38"/>
                  </a:cubicBezTo>
                  <a:cubicBezTo>
                    <a:pt x="55" y="38"/>
                    <a:pt x="47" y="44"/>
                    <a:pt x="42" y="62"/>
                  </a:cubicBezTo>
                  <a:cubicBezTo>
                    <a:pt x="38" y="44"/>
                    <a:pt x="29" y="38"/>
                    <a:pt x="29" y="38"/>
                  </a:cubicBezTo>
                  <a:cubicBezTo>
                    <a:pt x="15" y="38"/>
                    <a:pt x="4" y="51"/>
                    <a:pt x="0" y="83"/>
                  </a:cubicBezTo>
                  <a:cubicBezTo>
                    <a:pt x="3" y="84"/>
                    <a:pt x="22" y="89"/>
                    <a:pt x="42" y="89"/>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Gill Sans MT" panose="020B0502020104020203" pitchFamily="34" charset="0"/>
                <a:sym typeface="Gill Sans MT" panose="020B0502020104020203" pitchFamily="34" charset="0"/>
              </a:endParaRPr>
            </a:p>
          </p:txBody>
        </p:sp>
        <p:sp>
          <p:nvSpPr>
            <p:cNvPr id="19" name="Freeform 39">
              <a:extLst>
                <a:ext uri="{FF2B5EF4-FFF2-40B4-BE49-F238E27FC236}">
                  <a16:creationId xmlns:a16="http://schemas.microsoft.com/office/drawing/2014/main" id="{3E282638-FA93-418A-9B3E-C0B1835C6998}"/>
                </a:ext>
              </a:extLst>
            </p:cNvPr>
            <p:cNvSpPr>
              <a:spLocks noEditPoints="1"/>
            </p:cNvSpPr>
            <p:nvPr/>
          </p:nvSpPr>
          <p:spPr bwMode="auto">
            <a:xfrm>
              <a:off x="463546" y="395184"/>
              <a:ext cx="169484" cy="181401"/>
            </a:xfrm>
            <a:custGeom>
              <a:avLst/>
              <a:gdLst>
                <a:gd name="T0" fmla="*/ 26 w 84"/>
                <a:gd name="T1" fmla="*/ 16 h 89"/>
                <a:gd name="T2" fmla="*/ 42 w 84"/>
                <a:gd name="T3" fmla="*/ 0 h 89"/>
                <a:gd name="T4" fmla="*/ 58 w 84"/>
                <a:gd name="T5" fmla="*/ 16 h 89"/>
                <a:gd name="T6" fmla="*/ 42 w 84"/>
                <a:gd name="T7" fmla="*/ 39 h 89"/>
                <a:gd name="T8" fmla="*/ 26 w 84"/>
                <a:gd name="T9" fmla="*/ 16 h 89"/>
                <a:gd name="T10" fmla="*/ 42 w 84"/>
                <a:gd name="T11" fmla="*/ 89 h 89"/>
                <a:gd name="T12" fmla="*/ 84 w 84"/>
                <a:gd name="T13" fmla="*/ 82 h 89"/>
                <a:gd name="T14" fmla="*/ 55 w 84"/>
                <a:gd name="T15" fmla="*/ 38 h 89"/>
                <a:gd name="T16" fmla="*/ 42 w 84"/>
                <a:gd name="T17" fmla="*/ 62 h 89"/>
                <a:gd name="T18" fmla="*/ 29 w 84"/>
                <a:gd name="T19" fmla="*/ 38 h 89"/>
                <a:gd name="T20" fmla="*/ 0 w 84"/>
                <a:gd name="T21" fmla="*/ 83 h 89"/>
                <a:gd name="T22" fmla="*/ 42 w 84"/>
                <a:gd name="T23"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89">
                  <a:moveTo>
                    <a:pt x="26" y="16"/>
                  </a:moveTo>
                  <a:cubicBezTo>
                    <a:pt x="26" y="7"/>
                    <a:pt x="33" y="0"/>
                    <a:pt x="42" y="0"/>
                  </a:cubicBezTo>
                  <a:cubicBezTo>
                    <a:pt x="50" y="0"/>
                    <a:pt x="58" y="7"/>
                    <a:pt x="58" y="16"/>
                  </a:cubicBezTo>
                  <a:cubicBezTo>
                    <a:pt x="58" y="25"/>
                    <a:pt x="50" y="39"/>
                    <a:pt x="42" y="39"/>
                  </a:cubicBezTo>
                  <a:cubicBezTo>
                    <a:pt x="33" y="39"/>
                    <a:pt x="26" y="25"/>
                    <a:pt x="26" y="16"/>
                  </a:cubicBezTo>
                  <a:close/>
                  <a:moveTo>
                    <a:pt x="42" y="89"/>
                  </a:moveTo>
                  <a:cubicBezTo>
                    <a:pt x="62" y="89"/>
                    <a:pt x="81" y="83"/>
                    <a:pt x="84" y="82"/>
                  </a:cubicBezTo>
                  <a:cubicBezTo>
                    <a:pt x="80" y="51"/>
                    <a:pt x="69" y="38"/>
                    <a:pt x="55" y="38"/>
                  </a:cubicBezTo>
                  <a:cubicBezTo>
                    <a:pt x="55" y="38"/>
                    <a:pt x="46" y="44"/>
                    <a:pt x="42" y="62"/>
                  </a:cubicBezTo>
                  <a:cubicBezTo>
                    <a:pt x="38" y="44"/>
                    <a:pt x="29" y="38"/>
                    <a:pt x="29" y="38"/>
                  </a:cubicBezTo>
                  <a:cubicBezTo>
                    <a:pt x="15" y="38"/>
                    <a:pt x="4" y="51"/>
                    <a:pt x="0" y="83"/>
                  </a:cubicBezTo>
                  <a:cubicBezTo>
                    <a:pt x="3" y="84"/>
                    <a:pt x="22" y="89"/>
                    <a:pt x="42" y="89"/>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Gill Sans MT" panose="020B0502020104020203" pitchFamily="34" charset="0"/>
                <a:sym typeface="Gill Sans MT" panose="020B0502020104020203" pitchFamily="34" charset="0"/>
              </a:endParaRPr>
            </a:p>
          </p:txBody>
        </p:sp>
        <p:sp>
          <p:nvSpPr>
            <p:cNvPr id="20" name="Freeform 40">
              <a:extLst>
                <a:ext uri="{FF2B5EF4-FFF2-40B4-BE49-F238E27FC236}">
                  <a16:creationId xmlns:a16="http://schemas.microsoft.com/office/drawing/2014/main" id="{9C301574-4AA2-4C73-B08D-044C74C863ED}"/>
                </a:ext>
              </a:extLst>
            </p:cNvPr>
            <p:cNvSpPr>
              <a:spLocks/>
            </p:cNvSpPr>
            <p:nvPr/>
          </p:nvSpPr>
          <p:spPr bwMode="auto">
            <a:xfrm>
              <a:off x="162978" y="321035"/>
              <a:ext cx="397227" cy="64881"/>
            </a:xfrm>
            <a:custGeom>
              <a:avLst/>
              <a:gdLst>
                <a:gd name="T0" fmla="*/ 196 w 196"/>
                <a:gd name="T1" fmla="*/ 32 h 32"/>
                <a:gd name="T2" fmla="*/ 186 w 196"/>
                <a:gd name="T3" fmla="*/ 32 h 32"/>
                <a:gd name="T4" fmla="*/ 186 w 196"/>
                <a:gd name="T5" fmla="*/ 27 h 32"/>
                <a:gd name="T6" fmla="*/ 169 w 196"/>
                <a:gd name="T7" fmla="*/ 11 h 32"/>
                <a:gd name="T8" fmla="*/ 27 w 196"/>
                <a:gd name="T9" fmla="*/ 11 h 32"/>
                <a:gd name="T10" fmla="*/ 11 w 196"/>
                <a:gd name="T11" fmla="*/ 27 h 32"/>
                <a:gd name="T12" fmla="*/ 11 w 196"/>
                <a:gd name="T13" fmla="*/ 32 h 32"/>
                <a:gd name="T14" fmla="*/ 0 w 196"/>
                <a:gd name="T15" fmla="*/ 32 h 32"/>
                <a:gd name="T16" fmla="*/ 0 w 196"/>
                <a:gd name="T17" fmla="*/ 27 h 32"/>
                <a:gd name="T18" fmla="*/ 27 w 196"/>
                <a:gd name="T19" fmla="*/ 0 h 32"/>
                <a:gd name="T20" fmla="*/ 169 w 196"/>
                <a:gd name="T21" fmla="*/ 0 h 32"/>
                <a:gd name="T22" fmla="*/ 196 w 196"/>
                <a:gd name="T23" fmla="*/ 27 h 32"/>
                <a:gd name="T24" fmla="*/ 196 w 196"/>
                <a:gd name="T2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6" h="32">
                  <a:moveTo>
                    <a:pt x="196" y="32"/>
                  </a:moveTo>
                  <a:cubicBezTo>
                    <a:pt x="186" y="32"/>
                    <a:pt x="186" y="32"/>
                    <a:pt x="186" y="32"/>
                  </a:cubicBezTo>
                  <a:cubicBezTo>
                    <a:pt x="186" y="27"/>
                    <a:pt x="186" y="27"/>
                    <a:pt x="186" y="27"/>
                  </a:cubicBezTo>
                  <a:cubicBezTo>
                    <a:pt x="186" y="18"/>
                    <a:pt x="178" y="11"/>
                    <a:pt x="169" y="11"/>
                  </a:cubicBezTo>
                  <a:cubicBezTo>
                    <a:pt x="27" y="11"/>
                    <a:pt x="27" y="11"/>
                    <a:pt x="27" y="11"/>
                  </a:cubicBezTo>
                  <a:cubicBezTo>
                    <a:pt x="18" y="11"/>
                    <a:pt x="11" y="18"/>
                    <a:pt x="11" y="27"/>
                  </a:cubicBezTo>
                  <a:cubicBezTo>
                    <a:pt x="11" y="32"/>
                    <a:pt x="11" y="32"/>
                    <a:pt x="11" y="32"/>
                  </a:cubicBezTo>
                  <a:cubicBezTo>
                    <a:pt x="0" y="32"/>
                    <a:pt x="0" y="32"/>
                    <a:pt x="0" y="32"/>
                  </a:cubicBezTo>
                  <a:cubicBezTo>
                    <a:pt x="0" y="27"/>
                    <a:pt x="0" y="27"/>
                    <a:pt x="0" y="27"/>
                  </a:cubicBezTo>
                  <a:cubicBezTo>
                    <a:pt x="0" y="12"/>
                    <a:pt x="12" y="0"/>
                    <a:pt x="27" y="0"/>
                  </a:cubicBezTo>
                  <a:cubicBezTo>
                    <a:pt x="169" y="0"/>
                    <a:pt x="169" y="0"/>
                    <a:pt x="169" y="0"/>
                  </a:cubicBezTo>
                  <a:cubicBezTo>
                    <a:pt x="184" y="0"/>
                    <a:pt x="196" y="12"/>
                    <a:pt x="196" y="27"/>
                  </a:cubicBezTo>
                  <a:lnTo>
                    <a:pt x="196" y="32"/>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Gill Sans MT" panose="020B0502020104020203" pitchFamily="34" charset="0"/>
                <a:sym typeface="Gill Sans MT" panose="020B0502020104020203" pitchFamily="34" charset="0"/>
              </a:endParaRPr>
            </a:p>
          </p:txBody>
        </p:sp>
        <p:sp>
          <p:nvSpPr>
            <p:cNvPr id="21" name="Rectangle 41">
              <a:extLst>
                <a:ext uri="{FF2B5EF4-FFF2-40B4-BE49-F238E27FC236}">
                  <a16:creationId xmlns:a16="http://schemas.microsoft.com/office/drawing/2014/main" id="{D6061929-00F9-4ABC-AC98-B7F646023229}"/>
                </a:ext>
              </a:extLst>
            </p:cNvPr>
            <p:cNvSpPr>
              <a:spLocks noChangeArrowheads="1"/>
            </p:cNvSpPr>
            <p:nvPr/>
          </p:nvSpPr>
          <p:spPr bwMode="auto">
            <a:xfrm>
              <a:off x="350999" y="330303"/>
              <a:ext cx="21185" cy="55612"/>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Gill Sans MT" panose="020B0502020104020203" pitchFamily="34" charset="0"/>
                <a:sym typeface="Gill Sans MT" panose="020B0502020104020203" pitchFamily="34" charset="0"/>
              </a:endParaRPr>
            </a:p>
          </p:txBody>
        </p:sp>
        <p:sp>
          <p:nvSpPr>
            <p:cNvPr id="22" name="Freeform 42">
              <a:extLst>
                <a:ext uri="{FF2B5EF4-FFF2-40B4-BE49-F238E27FC236}">
                  <a16:creationId xmlns:a16="http://schemas.microsoft.com/office/drawing/2014/main" id="{1DF5C443-8609-428B-8DC6-C0E95060CACF}"/>
                </a:ext>
              </a:extLst>
            </p:cNvPr>
            <p:cNvSpPr>
              <a:spLocks/>
            </p:cNvSpPr>
            <p:nvPr/>
          </p:nvSpPr>
          <p:spPr bwMode="auto">
            <a:xfrm>
              <a:off x="246395" y="188626"/>
              <a:ext cx="230392" cy="117845"/>
            </a:xfrm>
            <a:custGeom>
              <a:avLst/>
              <a:gdLst>
                <a:gd name="T0" fmla="*/ 114 w 114"/>
                <a:gd name="T1" fmla="*/ 58 h 58"/>
                <a:gd name="T2" fmla="*/ 75 w 114"/>
                <a:gd name="T3" fmla="*/ 0 h 58"/>
                <a:gd name="T4" fmla="*/ 57 w 114"/>
                <a:gd name="T5" fmla="*/ 53 h 58"/>
                <a:gd name="T6" fmla="*/ 39 w 114"/>
                <a:gd name="T7" fmla="*/ 0 h 58"/>
                <a:gd name="T8" fmla="*/ 0 w 114"/>
                <a:gd name="T9" fmla="*/ 58 h 58"/>
                <a:gd name="T10" fmla="*/ 114 w 114"/>
                <a:gd name="T11" fmla="*/ 58 h 58"/>
              </a:gdLst>
              <a:ahLst/>
              <a:cxnLst>
                <a:cxn ang="0">
                  <a:pos x="T0" y="T1"/>
                </a:cxn>
                <a:cxn ang="0">
                  <a:pos x="T2" y="T3"/>
                </a:cxn>
                <a:cxn ang="0">
                  <a:pos x="T4" y="T5"/>
                </a:cxn>
                <a:cxn ang="0">
                  <a:pos x="T6" y="T7"/>
                </a:cxn>
                <a:cxn ang="0">
                  <a:pos x="T8" y="T9"/>
                </a:cxn>
                <a:cxn ang="0">
                  <a:pos x="T10" y="T11"/>
                </a:cxn>
              </a:cxnLst>
              <a:rect l="0" t="0" r="r" b="b"/>
              <a:pathLst>
                <a:path w="114" h="58">
                  <a:moveTo>
                    <a:pt x="114" y="58"/>
                  </a:moveTo>
                  <a:cubicBezTo>
                    <a:pt x="109" y="17"/>
                    <a:pt x="94" y="0"/>
                    <a:pt x="75" y="0"/>
                  </a:cubicBezTo>
                  <a:cubicBezTo>
                    <a:pt x="75" y="0"/>
                    <a:pt x="63" y="28"/>
                    <a:pt x="57" y="53"/>
                  </a:cubicBezTo>
                  <a:cubicBezTo>
                    <a:pt x="51" y="28"/>
                    <a:pt x="39" y="0"/>
                    <a:pt x="39" y="0"/>
                  </a:cubicBezTo>
                  <a:cubicBezTo>
                    <a:pt x="21" y="0"/>
                    <a:pt x="5" y="17"/>
                    <a:pt x="0" y="58"/>
                  </a:cubicBezTo>
                  <a:lnTo>
                    <a:pt x="114" y="58"/>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US" dirty="0">
                <a:latin typeface="Gill Sans MT" panose="020B0502020104020203" pitchFamily="34" charset="0"/>
                <a:sym typeface="Gill Sans MT" panose="020B0502020104020203" pitchFamily="34" charset="0"/>
              </a:endParaRPr>
            </a:p>
          </p:txBody>
        </p:sp>
        <p:sp>
          <p:nvSpPr>
            <p:cNvPr id="23" name="Oval 43">
              <a:extLst>
                <a:ext uri="{FF2B5EF4-FFF2-40B4-BE49-F238E27FC236}">
                  <a16:creationId xmlns:a16="http://schemas.microsoft.com/office/drawing/2014/main" id="{67E57CB0-F67A-430C-9DCF-300BA3A4B2E4}"/>
                </a:ext>
              </a:extLst>
            </p:cNvPr>
            <p:cNvSpPr>
              <a:spLocks noChangeArrowheads="1"/>
            </p:cNvSpPr>
            <p:nvPr/>
          </p:nvSpPr>
          <p:spPr bwMode="auto">
            <a:xfrm>
              <a:off x="316573" y="81374"/>
              <a:ext cx="90038" cy="111224"/>
            </a:xfrm>
            <a:prstGeom prst="ellipse">
              <a:avLst/>
            </a:pr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US" dirty="0">
                <a:latin typeface="Gill Sans MT" panose="020B0502020104020203" pitchFamily="34" charset="0"/>
                <a:sym typeface="Gill Sans MT" panose="020B0502020104020203" pitchFamily="34" charset="0"/>
              </a:endParaRPr>
            </a:p>
          </p:txBody>
        </p:sp>
      </p:grpSp>
    </p:spTree>
    <p:extLst>
      <p:ext uri="{BB962C8B-B14F-4D97-AF65-F5344CB8AC3E}">
        <p14:creationId xmlns:p14="http://schemas.microsoft.com/office/powerpoint/2010/main" val="1328808336"/>
      </p:ext>
    </p:extLst>
  </p:cSld>
  <p:clrMapOvr>
    <a:masterClrMapping/>
  </p:clrMapOvr>
  <p:extLst mod="1">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4036" y="183170"/>
            <a:ext cx="7729240" cy="416277"/>
          </a:xfrm>
        </p:spPr>
        <p:txBody>
          <a:bodyPr>
            <a:spAutoFit/>
          </a:bodyPr>
          <a:lstStyle>
            <a:lvl1pPr>
              <a:defRPr/>
            </a:lvl1pPr>
          </a:lstStyle>
          <a:p>
            <a:r>
              <a:rPr lang="en-US" dirty="0"/>
              <a:t>PPT Slide to Compare and Contrast</a:t>
            </a:r>
          </a:p>
        </p:txBody>
      </p:sp>
      <p:sp>
        <p:nvSpPr>
          <p:cNvPr id="3" name="Text Placeholder 2"/>
          <p:cNvSpPr>
            <a:spLocks noGrp="1"/>
          </p:cNvSpPr>
          <p:nvPr>
            <p:ph type="body" idx="1" hasCustomPrompt="1"/>
          </p:nvPr>
        </p:nvSpPr>
        <p:spPr>
          <a:xfrm>
            <a:off x="617267" y="1720697"/>
            <a:ext cx="3674190" cy="734508"/>
          </a:xfrm>
        </p:spPr>
        <p:txBody>
          <a:bodyPr anchor="b"/>
          <a:lstStyle>
            <a:lvl1pPr marL="0" indent="0">
              <a:buNone/>
              <a:defRPr sz="2352" b="1"/>
            </a:lvl1pPr>
            <a:lvl2pPr marL="448056" indent="0">
              <a:buNone/>
              <a:defRPr sz="1960" b="1"/>
            </a:lvl2pPr>
            <a:lvl3pPr marL="896112" indent="0">
              <a:buNone/>
              <a:defRPr sz="1764" b="1"/>
            </a:lvl3pPr>
            <a:lvl4pPr marL="1344168" indent="0">
              <a:buNone/>
              <a:defRPr sz="1568" b="1"/>
            </a:lvl4pPr>
            <a:lvl5pPr marL="1792224" indent="0">
              <a:buNone/>
              <a:defRPr sz="1568" b="1"/>
            </a:lvl5pPr>
            <a:lvl6pPr marL="2240280" indent="0">
              <a:buNone/>
              <a:defRPr sz="1568" b="1"/>
            </a:lvl6pPr>
            <a:lvl7pPr marL="2688336" indent="0">
              <a:buNone/>
              <a:defRPr sz="1568" b="1"/>
            </a:lvl7pPr>
            <a:lvl8pPr marL="3136392" indent="0">
              <a:buNone/>
              <a:defRPr sz="1568" b="1"/>
            </a:lvl8pPr>
            <a:lvl9pPr marL="3584448" indent="0">
              <a:buNone/>
              <a:defRPr sz="1568" b="1"/>
            </a:lvl9pPr>
          </a:lstStyle>
          <a:p>
            <a:pPr lvl="0"/>
            <a:r>
              <a:rPr lang="en-US" dirty="0"/>
              <a:t>Pro’s</a:t>
            </a:r>
          </a:p>
        </p:txBody>
      </p:sp>
      <p:sp>
        <p:nvSpPr>
          <p:cNvPr id="4" name="Content Placeholder 3"/>
          <p:cNvSpPr>
            <a:spLocks noGrp="1"/>
          </p:cNvSpPr>
          <p:nvPr>
            <p:ph sz="half" idx="2" hasCustomPrompt="1"/>
          </p:nvPr>
        </p:nvSpPr>
        <p:spPr>
          <a:xfrm>
            <a:off x="617267" y="2455206"/>
            <a:ext cx="3674190" cy="3611237"/>
          </a:xfrm>
        </p:spPr>
        <p:txBody>
          <a:bodyPr/>
          <a:lstStyle>
            <a:lvl1pPr>
              <a:defRPr/>
            </a:lvl1pPr>
          </a:lstStyle>
          <a:p>
            <a:pPr lvl="0"/>
            <a:r>
              <a:rPr lang="en-US" dirty="0"/>
              <a:t>Bullet Points</a:t>
            </a:r>
          </a:p>
        </p:txBody>
      </p:sp>
      <p:sp>
        <p:nvSpPr>
          <p:cNvPr id="5" name="Text Placeholder 4"/>
          <p:cNvSpPr>
            <a:spLocks noGrp="1"/>
          </p:cNvSpPr>
          <p:nvPr>
            <p:ph type="body" sz="quarter" idx="3" hasCustomPrompt="1"/>
          </p:nvPr>
        </p:nvSpPr>
        <p:spPr>
          <a:xfrm>
            <a:off x="4671149" y="1720697"/>
            <a:ext cx="3674190" cy="734508"/>
          </a:xfrm>
        </p:spPr>
        <p:txBody>
          <a:bodyPr anchor="b"/>
          <a:lstStyle>
            <a:lvl1pPr marL="0" indent="0">
              <a:buNone/>
              <a:defRPr sz="2352" b="1"/>
            </a:lvl1pPr>
            <a:lvl2pPr marL="448056" indent="0">
              <a:buNone/>
              <a:defRPr sz="1960" b="1"/>
            </a:lvl2pPr>
            <a:lvl3pPr marL="896112" indent="0">
              <a:buNone/>
              <a:defRPr sz="1764" b="1"/>
            </a:lvl3pPr>
            <a:lvl4pPr marL="1344168" indent="0">
              <a:buNone/>
              <a:defRPr sz="1568" b="1"/>
            </a:lvl4pPr>
            <a:lvl5pPr marL="1792224" indent="0">
              <a:buNone/>
              <a:defRPr sz="1568" b="1"/>
            </a:lvl5pPr>
            <a:lvl6pPr marL="2240280" indent="0">
              <a:buNone/>
              <a:defRPr sz="1568" b="1"/>
            </a:lvl6pPr>
            <a:lvl7pPr marL="2688336" indent="0">
              <a:buNone/>
              <a:defRPr sz="1568" b="1"/>
            </a:lvl7pPr>
            <a:lvl8pPr marL="3136392" indent="0">
              <a:buNone/>
              <a:defRPr sz="1568" b="1"/>
            </a:lvl8pPr>
            <a:lvl9pPr marL="3584448" indent="0">
              <a:buNone/>
              <a:defRPr sz="1568" b="1"/>
            </a:lvl9pPr>
          </a:lstStyle>
          <a:p>
            <a:pPr lvl="0"/>
            <a:r>
              <a:rPr lang="en-US" dirty="0"/>
              <a:t>Con’s</a:t>
            </a:r>
          </a:p>
        </p:txBody>
      </p:sp>
      <p:sp>
        <p:nvSpPr>
          <p:cNvPr id="6" name="Content Placeholder 5"/>
          <p:cNvSpPr>
            <a:spLocks noGrp="1"/>
          </p:cNvSpPr>
          <p:nvPr>
            <p:ph sz="quarter" idx="4" hasCustomPrompt="1"/>
          </p:nvPr>
        </p:nvSpPr>
        <p:spPr>
          <a:xfrm>
            <a:off x="4671149" y="2455206"/>
            <a:ext cx="3674190" cy="3611237"/>
          </a:xfrm>
        </p:spPr>
        <p:txBody>
          <a:bodyPr/>
          <a:lstStyle>
            <a:lvl1pPr>
              <a:defRPr/>
            </a:lvl1pPr>
          </a:lstStyle>
          <a:p>
            <a:pPr lvl="0"/>
            <a:r>
              <a:rPr lang="en-US" dirty="0"/>
              <a:t>Bullet Points</a:t>
            </a:r>
          </a:p>
        </p:txBody>
      </p:sp>
      <p:sp>
        <p:nvSpPr>
          <p:cNvPr id="9" name="Slide Number Placeholder 8"/>
          <p:cNvSpPr>
            <a:spLocks noGrp="1"/>
          </p:cNvSpPr>
          <p:nvPr>
            <p:ph type="sldNum" sz="quarter" idx="12"/>
          </p:nvPr>
        </p:nvSpPr>
        <p:spPr/>
        <p:txBody>
          <a:bodyPr/>
          <a:lstStyle/>
          <a:p>
            <a:fld id="{AFB4637D-E648-4D47-95AC-4BFF987C325D}" type="slidenum">
              <a:rPr lang="en-US" smtClean="0"/>
              <a:t>‹#›</a:t>
            </a:fld>
            <a:endParaRPr lang="en-US" dirty="0"/>
          </a:p>
        </p:txBody>
      </p:sp>
      <p:cxnSp>
        <p:nvCxnSpPr>
          <p:cNvPr id="12" name="Straight Connector 11">
            <a:extLst>
              <a:ext uri="{FF2B5EF4-FFF2-40B4-BE49-F238E27FC236}">
                <a16:creationId xmlns:a16="http://schemas.microsoft.com/office/drawing/2014/main" id="{A5FA42BD-C050-4A47-A483-5EDEFD0A7FEB}"/>
              </a:ext>
            </a:extLst>
          </p:cNvPr>
          <p:cNvCxnSpPr/>
          <p:nvPr/>
        </p:nvCxnSpPr>
        <p:spPr>
          <a:xfrm>
            <a:off x="4480719" y="1789282"/>
            <a:ext cx="0" cy="4264714"/>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5421477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add title</a:t>
            </a:r>
          </a:p>
        </p:txBody>
      </p:sp>
      <p:sp>
        <p:nvSpPr>
          <p:cNvPr id="5" name="Slide Number Placeholder 4"/>
          <p:cNvSpPr>
            <a:spLocks noGrp="1"/>
          </p:cNvSpPr>
          <p:nvPr>
            <p:ph type="sldNum" sz="quarter" idx="12"/>
          </p:nvPr>
        </p:nvSpPr>
        <p:spPr/>
        <p:txBody>
          <a:bodyPr/>
          <a:lstStyle/>
          <a:p>
            <a:fld id="{AFB4637D-E648-4D47-95AC-4BFF987C325D}" type="slidenum">
              <a:rPr lang="en-US" smtClean="0"/>
              <a:t>‹#›</a:t>
            </a:fld>
            <a:endParaRPr lang="en-US" dirty="0"/>
          </a:p>
        </p:txBody>
      </p:sp>
    </p:spTree>
    <p:custDataLst>
      <p:tags r:id="rId1"/>
    </p:custDataLst>
    <p:extLst>
      <p:ext uri="{BB962C8B-B14F-4D97-AF65-F5344CB8AC3E}">
        <p14:creationId xmlns:p14="http://schemas.microsoft.com/office/powerpoint/2010/main" val="49267764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4" name="Flowchart: Delay 3">
            <a:extLst>
              <a:ext uri="{FF2B5EF4-FFF2-40B4-BE49-F238E27FC236}">
                <a16:creationId xmlns:a16="http://schemas.microsoft.com/office/drawing/2014/main" id="{1DD39919-74FF-4249-AFD5-25B13A979F0A}"/>
              </a:ext>
            </a:extLst>
          </p:cNvPr>
          <p:cNvSpPr/>
          <p:nvPr/>
        </p:nvSpPr>
        <p:spPr>
          <a:xfrm flipH="1">
            <a:off x="6629805" y="4364809"/>
            <a:ext cx="2331633" cy="2356666"/>
          </a:xfrm>
          <a:prstGeom prst="flowChartDelay">
            <a:avLst/>
          </a:prstGeom>
          <a:blipFill dpi="0" rotWithShape="0">
            <a:blip r:embed="rId3"/>
            <a:srcRect/>
            <a:stretch>
              <a:fillRect l="-25623" t="-16901" r="1" b="-440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68"/>
          </a:p>
        </p:txBody>
      </p:sp>
      <p:sp>
        <p:nvSpPr>
          <p:cNvPr id="8" name="Flowchart: Delay 7">
            <a:extLst>
              <a:ext uri="{FF2B5EF4-FFF2-40B4-BE49-F238E27FC236}">
                <a16:creationId xmlns:a16="http://schemas.microsoft.com/office/drawing/2014/main" id="{F6CC155C-1681-4A9E-8169-E7D42CA34B11}"/>
              </a:ext>
            </a:extLst>
          </p:cNvPr>
          <p:cNvSpPr/>
          <p:nvPr/>
        </p:nvSpPr>
        <p:spPr>
          <a:xfrm flipH="1">
            <a:off x="6629805" y="4364809"/>
            <a:ext cx="2331633" cy="2356666"/>
          </a:xfrm>
          <a:prstGeom prst="flowChartDelay">
            <a:avLst/>
          </a:prstGeom>
          <a:gradFill flip="none" rotWithShape="1">
            <a:gsLst>
              <a:gs pos="0">
                <a:schemeClr val="accent3">
                  <a:alpha val="47000"/>
                </a:schemeClr>
              </a:gs>
              <a:gs pos="86000">
                <a:schemeClr val="accent4">
                  <a:alpha val="40000"/>
                </a:schemeClr>
              </a:gs>
            </a:gsLst>
            <a:lin ang="27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568">
              <a:solidFill>
                <a:schemeClr val="tx1"/>
              </a:solidFill>
            </a:endParaRPr>
          </a:p>
        </p:txBody>
      </p:sp>
      <p:sp>
        <p:nvSpPr>
          <p:cNvPr id="2" name="Title 1"/>
          <p:cNvSpPr>
            <a:spLocks noGrp="1"/>
          </p:cNvSpPr>
          <p:nvPr>
            <p:ph type="title" hasCustomPrompt="1"/>
          </p:nvPr>
        </p:nvSpPr>
        <p:spPr/>
        <p:txBody>
          <a:bodyPr/>
          <a:lstStyle>
            <a:lvl1pPr>
              <a:defRPr/>
            </a:lvl1pPr>
          </a:lstStyle>
          <a:p>
            <a:r>
              <a:rPr lang="en-US" dirty="0"/>
              <a:t>Click to add title</a:t>
            </a:r>
          </a:p>
        </p:txBody>
      </p:sp>
      <p:sp>
        <p:nvSpPr>
          <p:cNvPr id="5" name="Slide Number Placeholder 4"/>
          <p:cNvSpPr>
            <a:spLocks noGrp="1"/>
          </p:cNvSpPr>
          <p:nvPr>
            <p:ph type="sldNum" sz="quarter" idx="12"/>
          </p:nvPr>
        </p:nvSpPr>
        <p:spPr/>
        <p:txBody>
          <a:bodyPr/>
          <a:lstStyle/>
          <a:p>
            <a:fld id="{AFB4637D-E648-4D47-95AC-4BFF987C325D}" type="slidenum">
              <a:rPr lang="en-US" smtClean="0"/>
              <a:t>‹#›</a:t>
            </a:fld>
            <a:endParaRPr lang="en-US" dirty="0"/>
          </a:p>
        </p:txBody>
      </p:sp>
    </p:spTree>
    <p:custDataLst>
      <p:tags r:id="rId1"/>
    </p:custDataLst>
    <p:extLst>
      <p:ext uri="{BB962C8B-B14F-4D97-AF65-F5344CB8AC3E}">
        <p14:creationId xmlns:p14="http://schemas.microsoft.com/office/powerpoint/2010/main" val="211381155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47E7EECF-46B1-4A49-AC42-99BF24670138}"/>
              </a:ext>
            </a:extLst>
          </p:cNvPr>
          <p:cNvSpPr>
            <a:spLocks noGrp="1"/>
          </p:cNvSpPr>
          <p:nvPr>
            <p:ph type="sldNum" sz="quarter" idx="4"/>
          </p:nvPr>
        </p:nvSpPr>
        <p:spPr>
          <a:xfrm>
            <a:off x="7989122" y="6436969"/>
            <a:ext cx="916307" cy="211155"/>
          </a:xfrm>
          <a:prstGeom prst="rect">
            <a:avLst/>
          </a:prstGeom>
        </p:spPr>
        <p:txBody>
          <a:bodyPr vert="horz" lIns="91440" tIns="45720" rIns="91440" bIns="45720" rtlCol="0" anchor="ctr">
            <a:spAutoFit/>
          </a:bodyPr>
          <a:lstStyle>
            <a:lvl1pPr algn="r">
              <a:defRPr sz="784" b="1">
                <a:solidFill>
                  <a:srgbClr val="BA0C2F"/>
                </a:solidFill>
                <a:latin typeface="Gill Sans MT" panose="020B0502020104020203" pitchFamily="34" charset="0"/>
              </a:defRPr>
            </a:lvl1pPr>
          </a:lstStyle>
          <a:p>
            <a:fld id="{AFB4637D-E648-4D47-95AC-4BFF987C325D}" type="slidenum">
              <a:rPr lang="en-US" smtClean="0"/>
              <a:pPr/>
              <a:t>‹#›</a:t>
            </a:fld>
            <a:endParaRPr lang="en-US" dirty="0"/>
          </a:p>
        </p:txBody>
      </p:sp>
      <p:sp>
        <p:nvSpPr>
          <p:cNvPr id="8" name="TextBox 7">
            <a:extLst>
              <a:ext uri="{FF2B5EF4-FFF2-40B4-BE49-F238E27FC236}">
                <a16:creationId xmlns:a16="http://schemas.microsoft.com/office/drawing/2014/main" id="{561CD531-E4A1-4AAB-ADFF-EDAC719652F3}"/>
              </a:ext>
            </a:extLst>
          </p:cNvPr>
          <p:cNvSpPr txBox="1"/>
          <p:nvPr/>
        </p:nvSpPr>
        <p:spPr>
          <a:xfrm>
            <a:off x="224036" y="6436969"/>
            <a:ext cx="6668136" cy="211155"/>
          </a:xfrm>
          <a:prstGeom prst="rect">
            <a:avLst/>
          </a:prstGeom>
          <a:noFill/>
        </p:spPr>
        <p:txBody>
          <a:bodyPr wrap="square" rtlCol="0">
            <a:spAutoFit/>
          </a:bodyPr>
          <a:lstStyle/>
          <a:p>
            <a:r>
              <a:rPr lang="en-US" sz="784" b="0" dirty="0">
                <a:solidFill>
                  <a:srgbClr val="BA0C2F"/>
                </a:solidFill>
                <a:latin typeface="Gill Sans MT" panose="020B0502020104020203" pitchFamily="34" charset="0"/>
              </a:rPr>
              <a:t>USAID GLOBAL HEALTH SUPPLY CHAIN PROGRAM</a:t>
            </a:r>
            <a:r>
              <a:rPr lang="en-US" sz="784" b="0" dirty="0">
                <a:solidFill>
                  <a:srgbClr val="6C6463"/>
                </a:solidFill>
                <a:latin typeface="Gill Sans MT" panose="020B0502020104020203" pitchFamily="34" charset="0"/>
              </a:rPr>
              <a:t>-Procurement and Supply Management</a:t>
            </a:r>
          </a:p>
        </p:txBody>
      </p:sp>
    </p:spTree>
    <p:custDataLst>
      <p:tags r:id="rId1"/>
    </p:custDataLst>
    <p:extLst>
      <p:ext uri="{BB962C8B-B14F-4D97-AF65-F5344CB8AC3E}">
        <p14:creationId xmlns:p14="http://schemas.microsoft.com/office/powerpoint/2010/main" val="65218809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blank" preserve="1">
  <p:cSld name="End Slide">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A935AA17-AEC4-430C-B3A2-01E5BC48814A}"/>
              </a:ext>
            </a:extLst>
          </p:cNvPr>
          <p:cNvCxnSpPr>
            <a:cxnSpLocks/>
          </p:cNvCxnSpPr>
          <p:nvPr/>
        </p:nvCxnSpPr>
        <p:spPr>
          <a:xfrm>
            <a:off x="610498" y="6229812"/>
            <a:ext cx="7740442" cy="0"/>
          </a:xfrm>
          <a:prstGeom prst="line">
            <a:avLst/>
          </a:prstGeom>
          <a:ln>
            <a:solidFill>
              <a:srgbClr val="6C6463"/>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2C5A0F47-39AB-4744-9A17-EE20D1C68ACC}"/>
              </a:ext>
            </a:extLst>
          </p:cNvPr>
          <p:cNvSpPr txBox="1"/>
          <p:nvPr/>
        </p:nvSpPr>
        <p:spPr>
          <a:xfrm>
            <a:off x="224036" y="4068291"/>
            <a:ext cx="8183535" cy="2203808"/>
          </a:xfrm>
          <a:prstGeom prst="rect">
            <a:avLst/>
          </a:prstGeom>
          <a:noFill/>
        </p:spPr>
        <p:txBody>
          <a:bodyPr wrap="square" rtlCol="0">
            <a:spAutoFit/>
          </a:bodyPr>
          <a:lstStyle/>
          <a:p>
            <a:r>
              <a:rPr lang="en-US" sz="1372" dirty="0">
                <a:solidFill>
                  <a:srgbClr val="6C6463"/>
                </a:solidFill>
                <a:latin typeface="Gill Sans MT" panose="020B0502020104020203" pitchFamily="34" charset="0"/>
              </a:rPr>
              <a:t>The USAID Global Health Supply Chain Program-Procurement and Supply Management (GHSC-PSM) project is funded under USAID Contract No. AID-OAA-I-15-0004.  GHSC-PSM connects technical solutions and proven commercial processes to promote efficient and cost-effective health supply chains worldwide. Our goal is to ensure uninterrupted supplies of health commodities to save lives and create a healthier future for all. The project purchases and delivers health commodities, offers comprehensive technical assistance to strengthen national supply chain systems, and provides global supply chain leadership. For more information, visit </a:t>
            </a:r>
            <a:r>
              <a:rPr lang="en-US" sz="1372" dirty="0">
                <a:solidFill>
                  <a:srgbClr val="6C6463"/>
                </a:solidFill>
                <a:latin typeface="Gill Sans MT" panose="020B0502020104020203" pitchFamily="34" charset="0"/>
                <a:hlinkClick r:id="rId3"/>
              </a:rPr>
              <a:t>ghsupplychain.org</a:t>
            </a:r>
            <a:r>
              <a:rPr lang="en-US" sz="1372" dirty="0">
                <a:solidFill>
                  <a:srgbClr val="6C6463"/>
                </a:solidFill>
                <a:latin typeface="Gill Sans MT" panose="020B0502020104020203" pitchFamily="34" charset="0"/>
              </a:rPr>
              <a:t>.</a:t>
            </a:r>
          </a:p>
          <a:p>
            <a:endParaRPr lang="en-US" sz="1372" dirty="0">
              <a:solidFill>
                <a:srgbClr val="6C6463"/>
              </a:solidFill>
              <a:latin typeface="Gill Sans MT" panose="020B0502020104020203" pitchFamily="34" charset="0"/>
            </a:endParaRPr>
          </a:p>
          <a:p>
            <a:r>
              <a:rPr lang="en-US" sz="1372" dirty="0">
                <a:solidFill>
                  <a:srgbClr val="6C6463"/>
                </a:solidFill>
                <a:latin typeface="Gill Sans MT" panose="020B0502020104020203" pitchFamily="34" charset="0"/>
              </a:rPr>
              <a:t>The views expressed in this presentation do not necessarily reflect the views of USAID or the U.S. government.</a:t>
            </a:r>
          </a:p>
          <a:p>
            <a:r>
              <a:rPr lang="en-US" sz="1372" dirty="0">
                <a:solidFill>
                  <a:srgbClr val="6C6463"/>
                </a:solidFill>
                <a:latin typeface="Gill Sans MT" panose="020B0502020104020203" pitchFamily="34" charset="0"/>
              </a:rPr>
              <a:t> </a:t>
            </a:r>
          </a:p>
        </p:txBody>
      </p:sp>
      <p:sp>
        <p:nvSpPr>
          <p:cNvPr id="6" name="Slide Number Placeholder 5">
            <a:extLst>
              <a:ext uri="{FF2B5EF4-FFF2-40B4-BE49-F238E27FC236}">
                <a16:creationId xmlns:a16="http://schemas.microsoft.com/office/drawing/2014/main" id="{CDFC4DD3-E3BC-4CD6-95BC-45C588F8DE6D}"/>
              </a:ext>
            </a:extLst>
          </p:cNvPr>
          <p:cNvSpPr>
            <a:spLocks noGrp="1"/>
          </p:cNvSpPr>
          <p:nvPr>
            <p:ph type="sldNum" sz="quarter" idx="4"/>
          </p:nvPr>
        </p:nvSpPr>
        <p:spPr>
          <a:xfrm>
            <a:off x="7989122" y="6436969"/>
            <a:ext cx="916307" cy="211155"/>
          </a:xfrm>
          <a:prstGeom prst="rect">
            <a:avLst/>
          </a:prstGeom>
        </p:spPr>
        <p:txBody>
          <a:bodyPr vert="horz" lIns="91440" tIns="45720" rIns="91440" bIns="45720" rtlCol="0" anchor="ctr">
            <a:spAutoFit/>
          </a:bodyPr>
          <a:lstStyle>
            <a:lvl1pPr algn="r">
              <a:defRPr sz="784" b="1">
                <a:solidFill>
                  <a:srgbClr val="BA0C2F"/>
                </a:solidFill>
                <a:latin typeface="Gill Sans MT" panose="020B0502020104020203" pitchFamily="34" charset="0"/>
              </a:defRPr>
            </a:lvl1pPr>
          </a:lstStyle>
          <a:p>
            <a:fld id="{AFB4637D-E648-4D47-95AC-4BFF987C325D}" type="slidenum">
              <a:rPr lang="en-US" smtClean="0"/>
              <a:pPr/>
              <a:t>‹#›</a:t>
            </a:fld>
            <a:endParaRPr lang="en-US" dirty="0"/>
          </a:p>
        </p:txBody>
      </p:sp>
      <p:sp>
        <p:nvSpPr>
          <p:cNvPr id="7" name="TextBox 6">
            <a:extLst>
              <a:ext uri="{FF2B5EF4-FFF2-40B4-BE49-F238E27FC236}">
                <a16:creationId xmlns:a16="http://schemas.microsoft.com/office/drawing/2014/main" id="{2CCBB9FF-03DF-4D67-BAC5-D81B5F2492A0}"/>
              </a:ext>
            </a:extLst>
          </p:cNvPr>
          <p:cNvSpPr txBox="1"/>
          <p:nvPr/>
        </p:nvSpPr>
        <p:spPr>
          <a:xfrm>
            <a:off x="224036" y="6436969"/>
            <a:ext cx="6668136" cy="211155"/>
          </a:xfrm>
          <a:prstGeom prst="rect">
            <a:avLst/>
          </a:prstGeom>
          <a:noFill/>
        </p:spPr>
        <p:txBody>
          <a:bodyPr wrap="square" rtlCol="0">
            <a:spAutoFit/>
          </a:bodyPr>
          <a:lstStyle/>
          <a:p>
            <a:r>
              <a:rPr lang="en-US" sz="784" b="0" dirty="0">
                <a:solidFill>
                  <a:srgbClr val="BA0C2F"/>
                </a:solidFill>
                <a:latin typeface="Gill Sans MT" panose="020B0502020104020203" pitchFamily="34" charset="0"/>
              </a:rPr>
              <a:t>USAID GLOBAL HEALTH SUPPLY CHAIN PROGRAM</a:t>
            </a:r>
            <a:r>
              <a:rPr lang="en-US" sz="784" b="0" dirty="0">
                <a:solidFill>
                  <a:srgbClr val="6C6463"/>
                </a:solidFill>
                <a:latin typeface="Gill Sans MT" panose="020B0502020104020203" pitchFamily="34" charset="0"/>
              </a:rPr>
              <a:t>-Procurement and Supply Management</a:t>
            </a:r>
          </a:p>
        </p:txBody>
      </p:sp>
    </p:spTree>
    <p:custDataLst>
      <p:tags r:id="rId1"/>
    </p:custDataLst>
    <p:extLst>
      <p:ext uri="{BB962C8B-B14F-4D97-AF65-F5344CB8AC3E}">
        <p14:creationId xmlns:p14="http://schemas.microsoft.com/office/powerpoint/2010/main" val="26433915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Shipping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225263" y="2525422"/>
            <a:ext cx="3599265" cy="1470459"/>
          </a:xfrm>
        </p:spPr>
        <p:txBody>
          <a:bodyPr anchor="b">
            <a:normAutofit/>
          </a:bodyPr>
          <a:lstStyle>
            <a:lvl1pPr algn="l">
              <a:defRPr sz="3136"/>
            </a:lvl1pPr>
          </a:lstStyle>
          <a:p>
            <a:r>
              <a:rPr lang="en-US" dirty="0"/>
              <a:t>Click to insert title</a:t>
            </a:r>
          </a:p>
        </p:txBody>
      </p:sp>
      <p:sp>
        <p:nvSpPr>
          <p:cNvPr id="3" name="Subtitle 2"/>
          <p:cNvSpPr>
            <a:spLocks noGrp="1"/>
          </p:cNvSpPr>
          <p:nvPr>
            <p:ph type="subTitle" idx="1" hasCustomPrompt="1"/>
          </p:nvPr>
        </p:nvSpPr>
        <p:spPr>
          <a:xfrm>
            <a:off x="5225263" y="4218887"/>
            <a:ext cx="3599265" cy="693794"/>
          </a:xfrm>
        </p:spPr>
        <p:txBody>
          <a:bodyPr>
            <a:spAutoFit/>
          </a:bodyPr>
          <a:lstStyle>
            <a:lvl1pPr marL="0" indent="0" algn="l">
              <a:buNone/>
              <a:defRPr sz="1960"/>
            </a:lvl1pPr>
            <a:lvl2pPr marL="448056" indent="0" algn="ctr">
              <a:buNone/>
              <a:defRPr sz="1960"/>
            </a:lvl2pPr>
            <a:lvl3pPr marL="896112" indent="0" algn="ctr">
              <a:buNone/>
              <a:defRPr sz="1764"/>
            </a:lvl3pPr>
            <a:lvl4pPr marL="1344168" indent="0" algn="ctr">
              <a:buNone/>
              <a:defRPr sz="1568"/>
            </a:lvl4pPr>
            <a:lvl5pPr marL="1792224" indent="0" algn="ctr">
              <a:buNone/>
              <a:defRPr sz="1568"/>
            </a:lvl5pPr>
            <a:lvl6pPr marL="2240280" indent="0" algn="ctr">
              <a:buNone/>
              <a:defRPr sz="1568"/>
            </a:lvl6pPr>
            <a:lvl7pPr marL="2688336" indent="0" algn="ctr">
              <a:buNone/>
              <a:defRPr sz="1568"/>
            </a:lvl7pPr>
            <a:lvl8pPr marL="3136392" indent="0" algn="ctr">
              <a:buNone/>
              <a:defRPr sz="1568"/>
            </a:lvl8pPr>
            <a:lvl9pPr marL="3584448" indent="0" algn="ctr">
              <a:buNone/>
              <a:defRPr sz="1568"/>
            </a:lvl9pPr>
          </a:lstStyle>
          <a:p>
            <a:r>
              <a:rPr lang="en-US" dirty="0"/>
              <a:t>Click to insert date and/or author</a:t>
            </a:r>
          </a:p>
        </p:txBody>
      </p:sp>
      <p:sp>
        <p:nvSpPr>
          <p:cNvPr id="12" name="Rectangle 11">
            <a:extLst>
              <a:ext uri="{FF2B5EF4-FFF2-40B4-BE49-F238E27FC236}">
                <a16:creationId xmlns:a16="http://schemas.microsoft.com/office/drawing/2014/main" id="{96C3964D-A2DB-4719-91DE-E000BDEA4A50}"/>
              </a:ext>
            </a:extLst>
          </p:cNvPr>
          <p:cNvSpPr/>
          <p:nvPr/>
        </p:nvSpPr>
        <p:spPr>
          <a:xfrm>
            <a:off x="2342048" y="305483"/>
            <a:ext cx="6314701" cy="512804"/>
          </a:xfrm>
          <a:prstGeom prst="rect">
            <a:avLst/>
          </a:prstGeom>
        </p:spPr>
        <p:txBody>
          <a:bodyPr wrap="square">
            <a:spAutoFit/>
          </a:bodyPr>
          <a:lstStyle/>
          <a:p>
            <a:pPr algn="r" defTabSz="896112"/>
            <a:r>
              <a:rPr lang="en-US" sz="1372" b="0" dirty="0">
                <a:solidFill>
                  <a:srgbClr val="BA0C2F"/>
                </a:solidFill>
                <a:latin typeface="Gill Sans MT"/>
              </a:rPr>
              <a:t>USAID GLOBAL HEALTH SUPPLY CHAIN PROGRAM</a:t>
            </a:r>
          </a:p>
          <a:p>
            <a:pPr algn="r" defTabSz="896112">
              <a:defRPr/>
            </a:pPr>
            <a:r>
              <a:rPr lang="en-US" sz="1372" dirty="0">
                <a:solidFill>
                  <a:srgbClr val="6C6463"/>
                </a:solidFill>
                <a:latin typeface="Gill Sans MT"/>
              </a:rPr>
              <a:t>Procurement and Supply Management</a:t>
            </a:r>
          </a:p>
        </p:txBody>
      </p:sp>
      <p:cxnSp>
        <p:nvCxnSpPr>
          <p:cNvPr id="19" name="Straight Connector 18">
            <a:extLst>
              <a:ext uri="{FF2B5EF4-FFF2-40B4-BE49-F238E27FC236}">
                <a16:creationId xmlns:a16="http://schemas.microsoft.com/office/drawing/2014/main" id="{7CEA5C25-D68E-425A-B38A-82D17C052653}"/>
              </a:ext>
            </a:extLst>
          </p:cNvPr>
          <p:cNvCxnSpPr>
            <a:cxnSpLocks/>
          </p:cNvCxnSpPr>
          <p:nvPr/>
        </p:nvCxnSpPr>
        <p:spPr>
          <a:xfrm>
            <a:off x="5225265" y="4104170"/>
            <a:ext cx="3636601" cy="0"/>
          </a:xfrm>
          <a:prstGeom prst="line">
            <a:avLst/>
          </a:prstGeom>
          <a:ln>
            <a:solidFill>
              <a:srgbClr val="6C6463"/>
            </a:solidFill>
          </a:ln>
        </p:spPr>
        <p:style>
          <a:lnRef idx="1">
            <a:schemeClr val="accent1"/>
          </a:lnRef>
          <a:fillRef idx="0">
            <a:schemeClr val="accent1"/>
          </a:fillRef>
          <a:effectRef idx="0">
            <a:schemeClr val="accent1"/>
          </a:effectRef>
          <a:fontRef idx="minor">
            <a:schemeClr val="tx1"/>
          </a:fontRef>
        </p:style>
      </p:cxnSp>
      <p:pic>
        <p:nvPicPr>
          <p:cNvPr id="27" name="Picture 26" descr="A close up of a sign&#10;&#10;Description generated with very high confidence">
            <a:extLst>
              <a:ext uri="{FF2B5EF4-FFF2-40B4-BE49-F238E27FC236}">
                <a16:creationId xmlns:a16="http://schemas.microsoft.com/office/drawing/2014/main" id="{2DBFB556-7B57-4C6E-BA6B-44B1EB94FC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1041" y="237761"/>
            <a:ext cx="2177634" cy="648250"/>
          </a:xfrm>
          <a:prstGeom prst="rect">
            <a:avLst/>
          </a:prstGeom>
        </p:spPr>
      </p:pic>
      <p:sp>
        <p:nvSpPr>
          <p:cNvPr id="4" name="Flowchart: Delay 3">
            <a:extLst>
              <a:ext uri="{FF2B5EF4-FFF2-40B4-BE49-F238E27FC236}">
                <a16:creationId xmlns:a16="http://schemas.microsoft.com/office/drawing/2014/main" id="{FD493757-46BA-429A-822B-F8AC336DE1DA}"/>
              </a:ext>
            </a:extLst>
          </p:cNvPr>
          <p:cNvSpPr/>
          <p:nvPr/>
        </p:nvSpPr>
        <p:spPr>
          <a:xfrm>
            <a:off x="0" y="1114022"/>
            <a:ext cx="5022139" cy="5607453"/>
          </a:xfrm>
          <a:prstGeom prst="flowChartDelay">
            <a:avLst/>
          </a:prstGeom>
          <a:blipFill>
            <a:blip r:embed="rId4"/>
            <a:stretch>
              <a:fillRect r="-90086"/>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68"/>
          </a:p>
        </p:txBody>
      </p:sp>
      <p:grpSp>
        <p:nvGrpSpPr>
          <p:cNvPr id="9" name="Graphic 13">
            <a:extLst>
              <a:ext uri="{FF2B5EF4-FFF2-40B4-BE49-F238E27FC236}">
                <a16:creationId xmlns:a16="http://schemas.microsoft.com/office/drawing/2014/main" id="{0325783A-655F-407F-A9E9-C648CCC04E10}"/>
              </a:ext>
            </a:extLst>
          </p:cNvPr>
          <p:cNvGrpSpPr/>
          <p:nvPr/>
        </p:nvGrpSpPr>
        <p:grpSpPr>
          <a:xfrm>
            <a:off x="4567844" y="5724848"/>
            <a:ext cx="616099" cy="720232"/>
            <a:chOff x="5581649" y="4609230"/>
            <a:chExt cx="1076325" cy="1258170"/>
          </a:xfrm>
        </p:grpSpPr>
        <p:sp>
          <p:nvSpPr>
            <p:cNvPr id="10" name="Freeform: Shape 9">
              <a:extLst>
                <a:ext uri="{FF2B5EF4-FFF2-40B4-BE49-F238E27FC236}">
                  <a16:creationId xmlns:a16="http://schemas.microsoft.com/office/drawing/2014/main" id="{FEC6EB5A-9E5F-481F-A812-DE286B057BC3}"/>
                </a:ext>
              </a:extLst>
            </p:cNvPr>
            <p:cNvSpPr/>
            <p:nvPr/>
          </p:nvSpPr>
          <p:spPr>
            <a:xfrm>
              <a:off x="6099047" y="4923650"/>
              <a:ext cx="39318" cy="98295"/>
            </a:xfrm>
            <a:custGeom>
              <a:avLst/>
              <a:gdLst>
                <a:gd name="connsiteX0" fmla="*/ 20765 w 39317"/>
                <a:gd name="connsiteY0" fmla="*/ 97434 h 98294"/>
                <a:gd name="connsiteX1" fmla="*/ 1843 w 39317"/>
                <a:gd name="connsiteY1" fmla="*/ 78513 h 98294"/>
                <a:gd name="connsiteX2" fmla="*/ 1843 w 39317"/>
                <a:gd name="connsiteY2" fmla="*/ 20765 h 98294"/>
                <a:gd name="connsiteX3" fmla="*/ 20765 w 39317"/>
                <a:gd name="connsiteY3" fmla="*/ 1843 h 98294"/>
                <a:gd name="connsiteX4" fmla="*/ 39686 w 39317"/>
                <a:gd name="connsiteY4" fmla="*/ 20765 h 98294"/>
                <a:gd name="connsiteX5" fmla="*/ 39686 w 39317"/>
                <a:gd name="connsiteY5" fmla="*/ 78513 h 98294"/>
                <a:gd name="connsiteX6" fmla="*/ 20765 w 39317"/>
                <a:gd name="connsiteY6" fmla="*/ 97434 h 98294"/>
                <a:gd name="connsiteX7" fmla="*/ 20765 w 39317"/>
                <a:gd name="connsiteY7" fmla="*/ 97434 h 98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17" h="98294">
                  <a:moveTo>
                    <a:pt x="20765" y="97434"/>
                  </a:moveTo>
                  <a:cubicBezTo>
                    <a:pt x="10198" y="97434"/>
                    <a:pt x="1843" y="88834"/>
                    <a:pt x="1843" y="78513"/>
                  </a:cubicBezTo>
                  <a:lnTo>
                    <a:pt x="1843" y="20765"/>
                  </a:lnTo>
                  <a:cubicBezTo>
                    <a:pt x="1843" y="10198"/>
                    <a:pt x="10444" y="1843"/>
                    <a:pt x="20765" y="1843"/>
                  </a:cubicBezTo>
                  <a:cubicBezTo>
                    <a:pt x="31331" y="1843"/>
                    <a:pt x="39686" y="10444"/>
                    <a:pt x="39686" y="20765"/>
                  </a:cubicBezTo>
                  <a:lnTo>
                    <a:pt x="39686" y="78513"/>
                  </a:lnTo>
                  <a:cubicBezTo>
                    <a:pt x="39932" y="88834"/>
                    <a:pt x="31331" y="97434"/>
                    <a:pt x="20765" y="97434"/>
                  </a:cubicBezTo>
                  <a:lnTo>
                    <a:pt x="20765" y="97434"/>
                  </a:lnTo>
                  <a:close/>
                </a:path>
              </a:pathLst>
            </a:custGeom>
            <a:solidFill>
              <a:srgbClr val="CCD2DB"/>
            </a:solidFill>
            <a:ln w="9525" cap="flat">
              <a:noFill/>
              <a:prstDash val="solid"/>
              <a:miter/>
            </a:ln>
          </p:spPr>
          <p:txBody>
            <a:bodyPr rtlCol="0" anchor="ctr"/>
            <a:lstStyle/>
            <a:p>
              <a:endParaRPr lang="en-US" sz="1568"/>
            </a:p>
          </p:txBody>
        </p:sp>
        <p:sp>
          <p:nvSpPr>
            <p:cNvPr id="11" name="Freeform: Shape 10">
              <a:extLst>
                <a:ext uri="{FF2B5EF4-FFF2-40B4-BE49-F238E27FC236}">
                  <a16:creationId xmlns:a16="http://schemas.microsoft.com/office/drawing/2014/main" id="{7EB0629A-C9E1-4BD3-83BA-03B32CA9DA53}"/>
                </a:ext>
              </a:extLst>
            </p:cNvPr>
            <p:cNvSpPr/>
            <p:nvPr/>
          </p:nvSpPr>
          <p:spPr>
            <a:xfrm>
              <a:off x="6099047" y="5453949"/>
              <a:ext cx="39318" cy="98295"/>
            </a:xfrm>
            <a:custGeom>
              <a:avLst/>
              <a:gdLst>
                <a:gd name="connsiteX0" fmla="*/ 20765 w 39317"/>
                <a:gd name="connsiteY0" fmla="*/ 97434 h 98294"/>
                <a:gd name="connsiteX1" fmla="*/ 1843 w 39317"/>
                <a:gd name="connsiteY1" fmla="*/ 78513 h 98294"/>
                <a:gd name="connsiteX2" fmla="*/ 1843 w 39317"/>
                <a:gd name="connsiteY2" fmla="*/ 20765 h 98294"/>
                <a:gd name="connsiteX3" fmla="*/ 20765 w 39317"/>
                <a:gd name="connsiteY3" fmla="*/ 1843 h 98294"/>
                <a:gd name="connsiteX4" fmla="*/ 39686 w 39317"/>
                <a:gd name="connsiteY4" fmla="*/ 20765 h 98294"/>
                <a:gd name="connsiteX5" fmla="*/ 39686 w 39317"/>
                <a:gd name="connsiteY5" fmla="*/ 78513 h 98294"/>
                <a:gd name="connsiteX6" fmla="*/ 20765 w 39317"/>
                <a:gd name="connsiteY6" fmla="*/ 97434 h 98294"/>
                <a:gd name="connsiteX7" fmla="*/ 20765 w 39317"/>
                <a:gd name="connsiteY7" fmla="*/ 97434 h 98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17" h="98294">
                  <a:moveTo>
                    <a:pt x="20765" y="97434"/>
                  </a:moveTo>
                  <a:cubicBezTo>
                    <a:pt x="10198" y="97434"/>
                    <a:pt x="1843" y="88834"/>
                    <a:pt x="1843" y="78513"/>
                  </a:cubicBezTo>
                  <a:lnTo>
                    <a:pt x="1843" y="20765"/>
                  </a:lnTo>
                  <a:cubicBezTo>
                    <a:pt x="1843" y="10198"/>
                    <a:pt x="10444" y="1843"/>
                    <a:pt x="20765" y="1843"/>
                  </a:cubicBezTo>
                  <a:cubicBezTo>
                    <a:pt x="31331" y="1843"/>
                    <a:pt x="39686" y="10444"/>
                    <a:pt x="39686" y="20765"/>
                  </a:cubicBezTo>
                  <a:lnTo>
                    <a:pt x="39686" y="78513"/>
                  </a:lnTo>
                  <a:cubicBezTo>
                    <a:pt x="39932" y="88834"/>
                    <a:pt x="31331" y="97434"/>
                    <a:pt x="20765" y="97434"/>
                  </a:cubicBezTo>
                  <a:lnTo>
                    <a:pt x="20765" y="97434"/>
                  </a:lnTo>
                  <a:close/>
                </a:path>
              </a:pathLst>
            </a:custGeom>
            <a:solidFill>
              <a:srgbClr val="CCD2DB"/>
            </a:solidFill>
            <a:ln w="9525" cap="flat">
              <a:noFill/>
              <a:prstDash val="solid"/>
              <a:miter/>
            </a:ln>
          </p:spPr>
          <p:txBody>
            <a:bodyPr rtlCol="0" anchor="ctr"/>
            <a:lstStyle/>
            <a:p>
              <a:endParaRPr lang="en-US" sz="1568"/>
            </a:p>
          </p:txBody>
        </p:sp>
        <p:sp>
          <p:nvSpPr>
            <p:cNvPr id="13" name="Freeform: Shape 12">
              <a:extLst>
                <a:ext uri="{FF2B5EF4-FFF2-40B4-BE49-F238E27FC236}">
                  <a16:creationId xmlns:a16="http://schemas.microsoft.com/office/drawing/2014/main" id="{FA665960-8810-4F12-B25D-C8BCF523D485}"/>
                </a:ext>
              </a:extLst>
            </p:cNvPr>
            <p:cNvSpPr/>
            <p:nvPr/>
          </p:nvSpPr>
          <p:spPr>
            <a:xfrm>
              <a:off x="5844282" y="5070172"/>
              <a:ext cx="90922" cy="68806"/>
            </a:xfrm>
            <a:custGeom>
              <a:avLst/>
              <a:gdLst>
                <a:gd name="connsiteX0" fmla="*/ 61493 w 90922"/>
                <a:gd name="connsiteY0" fmla="*/ 66408 h 68806"/>
                <a:gd name="connsiteX1" fmla="*/ 11363 w 90922"/>
                <a:gd name="connsiteY1" fmla="*/ 37411 h 68806"/>
                <a:gd name="connsiteX2" fmla="*/ 4482 w 90922"/>
                <a:gd name="connsiteY2" fmla="*/ 11363 h 68806"/>
                <a:gd name="connsiteX3" fmla="*/ 30531 w 90922"/>
                <a:gd name="connsiteY3" fmla="*/ 4482 h 68806"/>
                <a:gd name="connsiteX4" fmla="*/ 80661 w 90922"/>
                <a:gd name="connsiteY4" fmla="*/ 33479 h 68806"/>
                <a:gd name="connsiteX5" fmla="*/ 87541 w 90922"/>
                <a:gd name="connsiteY5" fmla="*/ 59527 h 68806"/>
                <a:gd name="connsiteX6" fmla="*/ 61493 w 90922"/>
                <a:gd name="connsiteY6" fmla="*/ 66408 h 68806"/>
                <a:gd name="connsiteX7" fmla="*/ 61493 w 90922"/>
                <a:gd name="connsiteY7" fmla="*/ 66408 h 68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922" h="68806">
                  <a:moveTo>
                    <a:pt x="61493" y="66408"/>
                  </a:moveTo>
                  <a:lnTo>
                    <a:pt x="11363" y="37411"/>
                  </a:lnTo>
                  <a:cubicBezTo>
                    <a:pt x="2271" y="32251"/>
                    <a:pt x="-924" y="20455"/>
                    <a:pt x="4482" y="11363"/>
                  </a:cubicBezTo>
                  <a:cubicBezTo>
                    <a:pt x="9643" y="2271"/>
                    <a:pt x="21438" y="-924"/>
                    <a:pt x="30531" y="4482"/>
                  </a:cubicBezTo>
                  <a:lnTo>
                    <a:pt x="80661" y="33479"/>
                  </a:lnTo>
                  <a:cubicBezTo>
                    <a:pt x="89753" y="38640"/>
                    <a:pt x="92948" y="50435"/>
                    <a:pt x="87541" y="59527"/>
                  </a:cubicBezTo>
                  <a:cubicBezTo>
                    <a:pt x="82135" y="68620"/>
                    <a:pt x="70586" y="71814"/>
                    <a:pt x="61493" y="66408"/>
                  </a:cubicBezTo>
                  <a:lnTo>
                    <a:pt x="61493" y="66408"/>
                  </a:lnTo>
                  <a:close/>
                </a:path>
              </a:pathLst>
            </a:custGeom>
            <a:solidFill>
              <a:srgbClr val="CCD2DB"/>
            </a:solidFill>
            <a:ln w="9525" cap="flat">
              <a:noFill/>
              <a:prstDash val="solid"/>
              <a:miter/>
            </a:ln>
          </p:spPr>
          <p:txBody>
            <a:bodyPr rtlCol="0" anchor="ctr"/>
            <a:lstStyle/>
            <a:p>
              <a:endParaRPr lang="en-US" sz="1568"/>
            </a:p>
          </p:txBody>
        </p:sp>
        <p:sp>
          <p:nvSpPr>
            <p:cNvPr id="14" name="Freeform: Shape 13">
              <a:extLst>
                <a:ext uri="{FF2B5EF4-FFF2-40B4-BE49-F238E27FC236}">
                  <a16:creationId xmlns:a16="http://schemas.microsoft.com/office/drawing/2014/main" id="{B43C0516-4F36-440C-9FDC-17FF1239315C}"/>
                </a:ext>
              </a:extLst>
            </p:cNvPr>
            <p:cNvSpPr/>
            <p:nvPr/>
          </p:nvSpPr>
          <p:spPr>
            <a:xfrm>
              <a:off x="6303563" y="5335322"/>
              <a:ext cx="90922" cy="68806"/>
            </a:xfrm>
            <a:custGeom>
              <a:avLst/>
              <a:gdLst>
                <a:gd name="connsiteX0" fmla="*/ 61493 w 90922"/>
                <a:gd name="connsiteY0" fmla="*/ 66408 h 68806"/>
                <a:gd name="connsiteX1" fmla="*/ 11363 w 90922"/>
                <a:gd name="connsiteY1" fmla="*/ 37411 h 68806"/>
                <a:gd name="connsiteX2" fmla="*/ 4482 w 90922"/>
                <a:gd name="connsiteY2" fmla="*/ 11363 h 68806"/>
                <a:gd name="connsiteX3" fmla="*/ 30531 w 90922"/>
                <a:gd name="connsiteY3" fmla="*/ 4482 h 68806"/>
                <a:gd name="connsiteX4" fmla="*/ 80661 w 90922"/>
                <a:gd name="connsiteY4" fmla="*/ 33479 h 68806"/>
                <a:gd name="connsiteX5" fmla="*/ 87541 w 90922"/>
                <a:gd name="connsiteY5" fmla="*/ 59527 h 68806"/>
                <a:gd name="connsiteX6" fmla="*/ 61493 w 90922"/>
                <a:gd name="connsiteY6" fmla="*/ 66408 h 68806"/>
                <a:gd name="connsiteX7" fmla="*/ 61493 w 90922"/>
                <a:gd name="connsiteY7" fmla="*/ 66408 h 68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922" h="68806">
                  <a:moveTo>
                    <a:pt x="61493" y="66408"/>
                  </a:moveTo>
                  <a:lnTo>
                    <a:pt x="11363" y="37411"/>
                  </a:lnTo>
                  <a:cubicBezTo>
                    <a:pt x="2271" y="32251"/>
                    <a:pt x="-924" y="20455"/>
                    <a:pt x="4482" y="11363"/>
                  </a:cubicBezTo>
                  <a:cubicBezTo>
                    <a:pt x="9643" y="2271"/>
                    <a:pt x="21438" y="-924"/>
                    <a:pt x="30531" y="4482"/>
                  </a:cubicBezTo>
                  <a:lnTo>
                    <a:pt x="80661" y="33479"/>
                  </a:lnTo>
                  <a:cubicBezTo>
                    <a:pt x="89753" y="38640"/>
                    <a:pt x="92948" y="50435"/>
                    <a:pt x="87541" y="59527"/>
                  </a:cubicBezTo>
                  <a:cubicBezTo>
                    <a:pt x="82135" y="68620"/>
                    <a:pt x="70586" y="71814"/>
                    <a:pt x="61493" y="66408"/>
                  </a:cubicBezTo>
                  <a:lnTo>
                    <a:pt x="61493" y="66408"/>
                  </a:lnTo>
                  <a:close/>
                </a:path>
              </a:pathLst>
            </a:custGeom>
            <a:solidFill>
              <a:srgbClr val="CCD2DB"/>
            </a:solidFill>
            <a:ln w="9525" cap="flat">
              <a:noFill/>
              <a:prstDash val="solid"/>
              <a:miter/>
            </a:ln>
          </p:spPr>
          <p:txBody>
            <a:bodyPr rtlCol="0" anchor="ctr"/>
            <a:lstStyle/>
            <a:p>
              <a:endParaRPr lang="en-US" sz="1568"/>
            </a:p>
          </p:txBody>
        </p:sp>
        <p:sp>
          <p:nvSpPr>
            <p:cNvPr id="15" name="Freeform: Shape 14">
              <a:extLst>
                <a:ext uri="{FF2B5EF4-FFF2-40B4-BE49-F238E27FC236}">
                  <a16:creationId xmlns:a16="http://schemas.microsoft.com/office/drawing/2014/main" id="{E8038F75-6268-47B0-8F70-1E8C90233160}"/>
                </a:ext>
              </a:extLst>
            </p:cNvPr>
            <p:cNvSpPr/>
            <p:nvPr/>
          </p:nvSpPr>
          <p:spPr>
            <a:xfrm>
              <a:off x="5844391" y="5335431"/>
              <a:ext cx="90922" cy="68806"/>
            </a:xfrm>
            <a:custGeom>
              <a:avLst/>
              <a:gdLst>
                <a:gd name="connsiteX0" fmla="*/ 4373 w 90922"/>
                <a:gd name="connsiteY0" fmla="*/ 59418 h 68806"/>
                <a:gd name="connsiteX1" fmla="*/ 11254 w 90922"/>
                <a:gd name="connsiteY1" fmla="*/ 33370 h 68806"/>
                <a:gd name="connsiteX2" fmla="*/ 61384 w 90922"/>
                <a:gd name="connsiteY2" fmla="*/ 4373 h 68806"/>
                <a:gd name="connsiteX3" fmla="*/ 87432 w 90922"/>
                <a:gd name="connsiteY3" fmla="*/ 11254 h 68806"/>
                <a:gd name="connsiteX4" fmla="*/ 80552 w 90922"/>
                <a:gd name="connsiteY4" fmla="*/ 37302 h 68806"/>
                <a:gd name="connsiteX5" fmla="*/ 30421 w 90922"/>
                <a:gd name="connsiteY5" fmla="*/ 66299 h 68806"/>
                <a:gd name="connsiteX6" fmla="*/ 4373 w 90922"/>
                <a:gd name="connsiteY6" fmla="*/ 59418 h 68806"/>
                <a:gd name="connsiteX7" fmla="*/ 4373 w 90922"/>
                <a:gd name="connsiteY7" fmla="*/ 59418 h 68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922" h="68806">
                  <a:moveTo>
                    <a:pt x="4373" y="59418"/>
                  </a:moveTo>
                  <a:cubicBezTo>
                    <a:pt x="-787" y="50326"/>
                    <a:pt x="2162" y="38776"/>
                    <a:pt x="11254" y="33370"/>
                  </a:cubicBezTo>
                  <a:lnTo>
                    <a:pt x="61384" y="4373"/>
                  </a:lnTo>
                  <a:cubicBezTo>
                    <a:pt x="70476" y="-787"/>
                    <a:pt x="82026" y="2162"/>
                    <a:pt x="87432" y="11254"/>
                  </a:cubicBezTo>
                  <a:cubicBezTo>
                    <a:pt x="92593" y="20346"/>
                    <a:pt x="89644" y="31896"/>
                    <a:pt x="80552" y="37302"/>
                  </a:cubicBezTo>
                  <a:lnTo>
                    <a:pt x="30421" y="66299"/>
                  </a:lnTo>
                  <a:cubicBezTo>
                    <a:pt x="21329" y="71705"/>
                    <a:pt x="9534" y="68510"/>
                    <a:pt x="4373" y="59418"/>
                  </a:cubicBezTo>
                  <a:lnTo>
                    <a:pt x="4373" y="59418"/>
                  </a:lnTo>
                  <a:close/>
                </a:path>
              </a:pathLst>
            </a:custGeom>
            <a:solidFill>
              <a:srgbClr val="CCD2DB"/>
            </a:solidFill>
            <a:ln w="9525" cap="flat">
              <a:noFill/>
              <a:prstDash val="solid"/>
              <a:miter/>
            </a:ln>
          </p:spPr>
          <p:txBody>
            <a:bodyPr rtlCol="0" anchor="ctr"/>
            <a:lstStyle/>
            <a:p>
              <a:endParaRPr lang="en-US" sz="1568"/>
            </a:p>
          </p:txBody>
        </p:sp>
        <p:sp>
          <p:nvSpPr>
            <p:cNvPr id="16" name="Freeform: Shape 15">
              <a:extLst>
                <a:ext uri="{FF2B5EF4-FFF2-40B4-BE49-F238E27FC236}">
                  <a16:creationId xmlns:a16="http://schemas.microsoft.com/office/drawing/2014/main" id="{98219C80-5AC3-4BB2-A46D-DF4DACDCCD7B}"/>
                </a:ext>
              </a:extLst>
            </p:cNvPr>
            <p:cNvSpPr/>
            <p:nvPr/>
          </p:nvSpPr>
          <p:spPr>
            <a:xfrm>
              <a:off x="6303672" y="5070281"/>
              <a:ext cx="90922" cy="68806"/>
            </a:xfrm>
            <a:custGeom>
              <a:avLst/>
              <a:gdLst>
                <a:gd name="connsiteX0" fmla="*/ 4373 w 90922"/>
                <a:gd name="connsiteY0" fmla="*/ 59418 h 68806"/>
                <a:gd name="connsiteX1" fmla="*/ 11254 w 90922"/>
                <a:gd name="connsiteY1" fmla="*/ 33370 h 68806"/>
                <a:gd name="connsiteX2" fmla="*/ 61384 w 90922"/>
                <a:gd name="connsiteY2" fmla="*/ 4373 h 68806"/>
                <a:gd name="connsiteX3" fmla="*/ 87432 w 90922"/>
                <a:gd name="connsiteY3" fmla="*/ 11254 h 68806"/>
                <a:gd name="connsiteX4" fmla="*/ 80552 w 90922"/>
                <a:gd name="connsiteY4" fmla="*/ 37302 h 68806"/>
                <a:gd name="connsiteX5" fmla="*/ 30421 w 90922"/>
                <a:gd name="connsiteY5" fmla="*/ 66299 h 68806"/>
                <a:gd name="connsiteX6" fmla="*/ 4373 w 90922"/>
                <a:gd name="connsiteY6" fmla="*/ 59418 h 68806"/>
                <a:gd name="connsiteX7" fmla="*/ 4373 w 90922"/>
                <a:gd name="connsiteY7" fmla="*/ 59418 h 68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922" h="68806">
                  <a:moveTo>
                    <a:pt x="4373" y="59418"/>
                  </a:moveTo>
                  <a:cubicBezTo>
                    <a:pt x="-787" y="50326"/>
                    <a:pt x="2162" y="38776"/>
                    <a:pt x="11254" y="33370"/>
                  </a:cubicBezTo>
                  <a:lnTo>
                    <a:pt x="61384" y="4373"/>
                  </a:lnTo>
                  <a:cubicBezTo>
                    <a:pt x="70476" y="-787"/>
                    <a:pt x="82026" y="2162"/>
                    <a:pt x="87432" y="11254"/>
                  </a:cubicBezTo>
                  <a:cubicBezTo>
                    <a:pt x="92593" y="20346"/>
                    <a:pt x="89644" y="31896"/>
                    <a:pt x="80552" y="37302"/>
                  </a:cubicBezTo>
                  <a:lnTo>
                    <a:pt x="30421" y="66299"/>
                  </a:lnTo>
                  <a:cubicBezTo>
                    <a:pt x="21329" y="71705"/>
                    <a:pt x="9534" y="68510"/>
                    <a:pt x="4373" y="59418"/>
                  </a:cubicBezTo>
                  <a:lnTo>
                    <a:pt x="4373" y="59418"/>
                  </a:lnTo>
                  <a:close/>
                </a:path>
              </a:pathLst>
            </a:custGeom>
            <a:solidFill>
              <a:srgbClr val="CCD2DB"/>
            </a:solidFill>
            <a:ln w="9525" cap="flat">
              <a:noFill/>
              <a:prstDash val="solid"/>
              <a:miter/>
            </a:ln>
          </p:spPr>
          <p:txBody>
            <a:bodyPr rtlCol="0" anchor="ctr"/>
            <a:lstStyle/>
            <a:p>
              <a:endParaRPr lang="en-US" sz="1568"/>
            </a:p>
          </p:txBody>
        </p:sp>
        <p:sp>
          <p:nvSpPr>
            <p:cNvPr id="17" name="Freeform: Shape 16">
              <a:extLst>
                <a:ext uri="{FF2B5EF4-FFF2-40B4-BE49-F238E27FC236}">
                  <a16:creationId xmlns:a16="http://schemas.microsoft.com/office/drawing/2014/main" id="{A67E95F5-F4E6-4B72-9A6E-058C5D56D0E1}"/>
                </a:ext>
              </a:extLst>
            </p:cNvPr>
            <p:cNvSpPr/>
            <p:nvPr/>
          </p:nvSpPr>
          <p:spPr>
            <a:xfrm>
              <a:off x="5882062" y="5000319"/>
              <a:ext cx="474271" cy="474271"/>
            </a:xfrm>
            <a:custGeom>
              <a:avLst/>
              <a:gdLst>
                <a:gd name="connsiteX0" fmla="*/ 474148 w 474271"/>
                <a:gd name="connsiteY0" fmla="*/ 237996 h 474271"/>
                <a:gd name="connsiteX1" fmla="*/ 237996 w 474271"/>
                <a:gd name="connsiteY1" fmla="*/ 474148 h 474271"/>
                <a:gd name="connsiteX2" fmla="*/ 1843 w 474271"/>
                <a:gd name="connsiteY2" fmla="*/ 237996 h 474271"/>
                <a:gd name="connsiteX3" fmla="*/ 237996 w 474271"/>
                <a:gd name="connsiteY3" fmla="*/ 1843 h 474271"/>
                <a:gd name="connsiteX4" fmla="*/ 474148 w 474271"/>
                <a:gd name="connsiteY4" fmla="*/ 237996 h 474271"/>
                <a:gd name="connsiteX5" fmla="*/ 474148 w 474271"/>
                <a:gd name="connsiteY5" fmla="*/ 237996 h 474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271" h="474271">
                  <a:moveTo>
                    <a:pt x="474148" y="237996"/>
                  </a:moveTo>
                  <a:cubicBezTo>
                    <a:pt x="474148" y="368482"/>
                    <a:pt x="368482" y="474148"/>
                    <a:pt x="237996" y="474148"/>
                  </a:cubicBezTo>
                  <a:cubicBezTo>
                    <a:pt x="107510" y="474148"/>
                    <a:pt x="1843" y="368482"/>
                    <a:pt x="1843" y="237996"/>
                  </a:cubicBezTo>
                  <a:cubicBezTo>
                    <a:pt x="1843" y="107510"/>
                    <a:pt x="107510" y="1843"/>
                    <a:pt x="237996" y="1843"/>
                  </a:cubicBezTo>
                  <a:cubicBezTo>
                    <a:pt x="368236" y="1843"/>
                    <a:pt x="474148" y="107510"/>
                    <a:pt x="474148" y="237996"/>
                  </a:cubicBezTo>
                  <a:lnTo>
                    <a:pt x="474148" y="237996"/>
                  </a:lnTo>
                  <a:close/>
                </a:path>
              </a:pathLst>
            </a:custGeom>
            <a:solidFill>
              <a:srgbClr val="54A0FF"/>
            </a:solidFill>
            <a:ln w="9525" cap="flat">
              <a:noFill/>
              <a:prstDash val="solid"/>
              <a:miter/>
            </a:ln>
          </p:spPr>
          <p:txBody>
            <a:bodyPr rtlCol="0" anchor="ctr"/>
            <a:lstStyle/>
            <a:p>
              <a:endParaRPr lang="en-US" sz="1568"/>
            </a:p>
          </p:txBody>
        </p:sp>
        <p:sp>
          <p:nvSpPr>
            <p:cNvPr id="18" name="Freeform: Shape 17">
              <a:extLst>
                <a:ext uri="{FF2B5EF4-FFF2-40B4-BE49-F238E27FC236}">
                  <a16:creationId xmlns:a16="http://schemas.microsoft.com/office/drawing/2014/main" id="{7CAD6E6B-6194-4E20-AF9D-8E058C0FC04B}"/>
                </a:ext>
              </a:extLst>
            </p:cNvPr>
            <p:cNvSpPr/>
            <p:nvPr/>
          </p:nvSpPr>
          <p:spPr>
            <a:xfrm>
              <a:off x="5882062" y="5000319"/>
              <a:ext cx="277682" cy="474271"/>
            </a:xfrm>
            <a:custGeom>
              <a:avLst/>
              <a:gdLst>
                <a:gd name="connsiteX0" fmla="*/ 77776 w 277682"/>
                <a:gd name="connsiteY0" fmla="*/ 237996 h 474271"/>
                <a:gd name="connsiteX1" fmla="*/ 276085 w 277682"/>
                <a:gd name="connsiteY1" fmla="*/ 4792 h 474271"/>
                <a:gd name="connsiteX2" fmla="*/ 237996 w 277682"/>
                <a:gd name="connsiteY2" fmla="*/ 1843 h 474271"/>
                <a:gd name="connsiteX3" fmla="*/ 1843 w 277682"/>
                <a:gd name="connsiteY3" fmla="*/ 237996 h 474271"/>
                <a:gd name="connsiteX4" fmla="*/ 237996 w 277682"/>
                <a:gd name="connsiteY4" fmla="*/ 474148 h 474271"/>
                <a:gd name="connsiteX5" fmla="*/ 276085 w 277682"/>
                <a:gd name="connsiteY5" fmla="*/ 471199 h 474271"/>
                <a:gd name="connsiteX6" fmla="*/ 77776 w 277682"/>
                <a:gd name="connsiteY6" fmla="*/ 237996 h 474271"/>
                <a:gd name="connsiteX7" fmla="*/ 77776 w 277682"/>
                <a:gd name="connsiteY7" fmla="*/ 237996 h 474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682" h="474271">
                  <a:moveTo>
                    <a:pt x="77776" y="237996"/>
                  </a:moveTo>
                  <a:cubicBezTo>
                    <a:pt x="77776" y="120534"/>
                    <a:pt x="163538" y="22976"/>
                    <a:pt x="276085" y="4792"/>
                  </a:cubicBezTo>
                  <a:cubicBezTo>
                    <a:pt x="263798" y="2826"/>
                    <a:pt x="251020" y="1843"/>
                    <a:pt x="237996" y="1843"/>
                  </a:cubicBezTo>
                  <a:cubicBezTo>
                    <a:pt x="107510" y="1843"/>
                    <a:pt x="1843" y="107510"/>
                    <a:pt x="1843" y="237996"/>
                  </a:cubicBezTo>
                  <a:cubicBezTo>
                    <a:pt x="1843" y="368482"/>
                    <a:pt x="107510" y="474148"/>
                    <a:pt x="237996" y="474148"/>
                  </a:cubicBezTo>
                  <a:cubicBezTo>
                    <a:pt x="251020" y="474148"/>
                    <a:pt x="263552" y="473165"/>
                    <a:pt x="276085" y="471199"/>
                  </a:cubicBezTo>
                  <a:cubicBezTo>
                    <a:pt x="163538" y="453015"/>
                    <a:pt x="77776" y="355458"/>
                    <a:pt x="77776" y="237996"/>
                  </a:cubicBezTo>
                  <a:lnTo>
                    <a:pt x="77776" y="237996"/>
                  </a:lnTo>
                  <a:close/>
                </a:path>
              </a:pathLst>
            </a:custGeom>
            <a:solidFill>
              <a:srgbClr val="338DEF"/>
            </a:solidFill>
            <a:ln w="9525" cap="flat">
              <a:noFill/>
              <a:prstDash val="solid"/>
              <a:miter/>
            </a:ln>
          </p:spPr>
          <p:txBody>
            <a:bodyPr rtlCol="0" anchor="ctr"/>
            <a:lstStyle/>
            <a:p>
              <a:endParaRPr lang="en-US" sz="1568"/>
            </a:p>
          </p:txBody>
        </p:sp>
        <p:sp>
          <p:nvSpPr>
            <p:cNvPr id="20" name="Freeform: Shape 19">
              <a:extLst>
                <a:ext uri="{FF2B5EF4-FFF2-40B4-BE49-F238E27FC236}">
                  <a16:creationId xmlns:a16="http://schemas.microsoft.com/office/drawing/2014/main" id="{ECA30BA3-938C-4623-8258-029471B9F88F}"/>
                </a:ext>
              </a:extLst>
            </p:cNvPr>
            <p:cNvSpPr/>
            <p:nvPr/>
          </p:nvSpPr>
          <p:spPr>
            <a:xfrm>
              <a:off x="6047688" y="5066422"/>
              <a:ext cx="142527" cy="142527"/>
            </a:xfrm>
            <a:custGeom>
              <a:avLst/>
              <a:gdLst>
                <a:gd name="connsiteX0" fmla="*/ 142404 w 142527"/>
                <a:gd name="connsiteY0" fmla="*/ 72124 h 142527"/>
                <a:gd name="connsiteX1" fmla="*/ 72124 w 142527"/>
                <a:gd name="connsiteY1" fmla="*/ 142404 h 142527"/>
                <a:gd name="connsiteX2" fmla="*/ 1843 w 142527"/>
                <a:gd name="connsiteY2" fmla="*/ 72124 h 142527"/>
                <a:gd name="connsiteX3" fmla="*/ 72124 w 142527"/>
                <a:gd name="connsiteY3" fmla="*/ 1843 h 142527"/>
                <a:gd name="connsiteX4" fmla="*/ 142404 w 142527"/>
                <a:gd name="connsiteY4" fmla="*/ 72124 h 142527"/>
                <a:gd name="connsiteX5" fmla="*/ 142404 w 142527"/>
                <a:gd name="connsiteY5"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527" h="142527">
                  <a:moveTo>
                    <a:pt x="142404" y="72124"/>
                  </a:moveTo>
                  <a:cubicBezTo>
                    <a:pt x="142404" y="110950"/>
                    <a:pt x="110950" y="142404"/>
                    <a:pt x="72124" y="142404"/>
                  </a:cubicBezTo>
                  <a:cubicBezTo>
                    <a:pt x="33297" y="142404"/>
                    <a:pt x="1843" y="110950"/>
                    <a:pt x="1843" y="72124"/>
                  </a:cubicBezTo>
                  <a:cubicBezTo>
                    <a:pt x="1843" y="33297"/>
                    <a:pt x="33297" y="1843"/>
                    <a:pt x="72124" y="1843"/>
                  </a:cubicBezTo>
                  <a:cubicBezTo>
                    <a:pt x="110950" y="2089"/>
                    <a:pt x="142404" y="33543"/>
                    <a:pt x="142404" y="72124"/>
                  </a:cubicBezTo>
                  <a:lnTo>
                    <a:pt x="142404" y="72124"/>
                  </a:lnTo>
                  <a:close/>
                </a:path>
              </a:pathLst>
            </a:custGeom>
            <a:solidFill>
              <a:srgbClr val="FFCDBF"/>
            </a:solidFill>
            <a:ln w="9525" cap="flat">
              <a:noFill/>
              <a:prstDash val="solid"/>
              <a:miter/>
            </a:ln>
          </p:spPr>
          <p:txBody>
            <a:bodyPr rtlCol="0" anchor="ctr"/>
            <a:lstStyle/>
            <a:p>
              <a:endParaRPr lang="en-US" sz="1568"/>
            </a:p>
          </p:txBody>
        </p:sp>
        <p:sp>
          <p:nvSpPr>
            <p:cNvPr id="21" name="Freeform: Shape 20">
              <a:extLst>
                <a:ext uri="{FF2B5EF4-FFF2-40B4-BE49-F238E27FC236}">
                  <a16:creationId xmlns:a16="http://schemas.microsoft.com/office/drawing/2014/main" id="{E57F3969-2F3B-479D-8598-4E62D2089150}"/>
                </a:ext>
              </a:extLst>
            </p:cNvPr>
            <p:cNvSpPr/>
            <p:nvPr/>
          </p:nvSpPr>
          <p:spPr>
            <a:xfrm>
              <a:off x="6003210" y="5206984"/>
              <a:ext cx="230992" cy="176930"/>
            </a:xfrm>
            <a:custGeom>
              <a:avLst/>
              <a:gdLst>
                <a:gd name="connsiteX0" fmla="*/ 156411 w 230992"/>
                <a:gd name="connsiteY0" fmla="*/ 1843 h 176930"/>
                <a:gd name="connsiteX1" fmla="*/ 77038 w 230992"/>
                <a:gd name="connsiteY1" fmla="*/ 1843 h 176930"/>
                <a:gd name="connsiteX2" fmla="*/ 1843 w 230992"/>
                <a:gd name="connsiteY2" fmla="*/ 77038 h 176930"/>
                <a:gd name="connsiteX3" fmla="*/ 1843 w 230992"/>
                <a:gd name="connsiteY3" fmla="*/ 164029 h 176930"/>
                <a:gd name="connsiteX4" fmla="*/ 14621 w 230992"/>
                <a:gd name="connsiteY4" fmla="*/ 176807 h 176930"/>
                <a:gd name="connsiteX5" fmla="*/ 218828 w 230992"/>
                <a:gd name="connsiteY5" fmla="*/ 176807 h 176930"/>
                <a:gd name="connsiteX6" fmla="*/ 231606 w 230992"/>
                <a:gd name="connsiteY6" fmla="*/ 164029 h 176930"/>
                <a:gd name="connsiteX7" fmla="*/ 231606 w 230992"/>
                <a:gd name="connsiteY7" fmla="*/ 77038 h 176930"/>
                <a:gd name="connsiteX8" fmla="*/ 156411 w 230992"/>
                <a:gd name="connsiteY8" fmla="*/ 1843 h 176930"/>
                <a:gd name="connsiteX9" fmla="*/ 156411 w 230992"/>
                <a:gd name="connsiteY9" fmla="*/ 1843 h 176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0992" h="176930">
                  <a:moveTo>
                    <a:pt x="156411" y="1843"/>
                  </a:moveTo>
                  <a:lnTo>
                    <a:pt x="77038" y="1843"/>
                  </a:lnTo>
                  <a:cubicBezTo>
                    <a:pt x="35755" y="1843"/>
                    <a:pt x="1843" y="35755"/>
                    <a:pt x="1843" y="77038"/>
                  </a:cubicBezTo>
                  <a:lnTo>
                    <a:pt x="1843" y="164029"/>
                  </a:lnTo>
                  <a:cubicBezTo>
                    <a:pt x="1843" y="171155"/>
                    <a:pt x="7495" y="176807"/>
                    <a:pt x="14621" y="176807"/>
                  </a:cubicBezTo>
                  <a:lnTo>
                    <a:pt x="218828" y="176807"/>
                  </a:lnTo>
                  <a:cubicBezTo>
                    <a:pt x="225955" y="176807"/>
                    <a:pt x="231606" y="171155"/>
                    <a:pt x="231606" y="164029"/>
                  </a:cubicBezTo>
                  <a:lnTo>
                    <a:pt x="231606" y="77038"/>
                  </a:lnTo>
                  <a:cubicBezTo>
                    <a:pt x="231606" y="35509"/>
                    <a:pt x="197695" y="1843"/>
                    <a:pt x="156411" y="1843"/>
                  </a:cubicBezTo>
                  <a:lnTo>
                    <a:pt x="156411" y="1843"/>
                  </a:lnTo>
                  <a:close/>
                </a:path>
              </a:pathLst>
            </a:custGeom>
            <a:solidFill>
              <a:srgbClr val="FECA57"/>
            </a:solidFill>
            <a:ln w="9525" cap="flat">
              <a:noFill/>
              <a:prstDash val="solid"/>
              <a:miter/>
            </a:ln>
          </p:spPr>
          <p:txBody>
            <a:bodyPr rtlCol="0" anchor="ctr"/>
            <a:lstStyle/>
            <a:p>
              <a:endParaRPr lang="en-US" sz="1568"/>
            </a:p>
          </p:txBody>
        </p:sp>
        <p:sp>
          <p:nvSpPr>
            <p:cNvPr id="22" name="Freeform: Shape 21">
              <a:extLst>
                <a:ext uri="{FF2B5EF4-FFF2-40B4-BE49-F238E27FC236}">
                  <a16:creationId xmlns:a16="http://schemas.microsoft.com/office/drawing/2014/main" id="{F58EC69F-12DB-4639-9091-B9679D79980F}"/>
                </a:ext>
              </a:extLst>
            </p:cNvPr>
            <p:cNvSpPr/>
            <p:nvPr/>
          </p:nvSpPr>
          <p:spPr>
            <a:xfrm>
              <a:off x="6003210" y="5206984"/>
              <a:ext cx="127783" cy="176930"/>
            </a:xfrm>
            <a:custGeom>
              <a:avLst/>
              <a:gdLst>
                <a:gd name="connsiteX0" fmla="*/ 52465 w 127782"/>
                <a:gd name="connsiteY0" fmla="*/ 164029 h 176930"/>
                <a:gd name="connsiteX1" fmla="*/ 52465 w 127782"/>
                <a:gd name="connsiteY1" fmla="*/ 77038 h 176930"/>
                <a:gd name="connsiteX2" fmla="*/ 127660 w 127782"/>
                <a:gd name="connsiteY2" fmla="*/ 1843 h 176930"/>
                <a:gd name="connsiteX3" fmla="*/ 77038 w 127782"/>
                <a:gd name="connsiteY3" fmla="*/ 1843 h 176930"/>
                <a:gd name="connsiteX4" fmla="*/ 1843 w 127782"/>
                <a:gd name="connsiteY4" fmla="*/ 77038 h 176930"/>
                <a:gd name="connsiteX5" fmla="*/ 1843 w 127782"/>
                <a:gd name="connsiteY5" fmla="*/ 164029 h 176930"/>
                <a:gd name="connsiteX6" fmla="*/ 14621 w 127782"/>
                <a:gd name="connsiteY6" fmla="*/ 176807 h 176930"/>
                <a:gd name="connsiteX7" fmla="*/ 65243 w 127782"/>
                <a:gd name="connsiteY7" fmla="*/ 176807 h 176930"/>
                <a:gd name="connsiteX8" fmla="*/ 52465 w 127782"/>
                <a:gd name="connsiteY8" fmla="*/ 164029 h 176930"/>
                <a:gd name="connsiteX9" fmla="*/ 52465 w 127782"/>
                <a:gd name="connsiteY9" fmla="*/ 164029 h 176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82" h="176930">
                  <a:moveTo>
                    <a:pt x="52465" y="164029"/>
                  </a:moveTo>
                  <a:lnTo>
                    <a:pt x="52465" y="77038"/>
                  </a:lnTo>
                  <a:cubicBezTo>
                    <a:pt x="52465" y="35755"/>
                    <a:pt x="86376" y="1843"/>
                    <a:pt x="127660" y="1843"/>
                  </a:cubicBezTo>
                  <a:lnTo>
                    <a:pt x="77038" y="1843"/>
                  </a:lnTo>
                  <a:cubicBezTo>
                    <a:pt x="35755" y="1843"/>
                    <a:pt x="1843" y="35755"/>
                    <a:pt x="1843" y="77038"/>
                  </a:cubicBezTo>
                  <a:lnTo>
                    <a:pt x="1843" y="164029"/>
                  </a:lnTo>
                  <a:cubicBezTo>
                    <a:pt x="1843" y="171155"/>
                    <a:pt x="7495" y="176807"/>
                    <a:pt x="14621" y="176807"/>
                  </a:cubicBezTo>
                  <a:lnTo>
                    <a:pt x="65243" y="176807"/>
                  </a:lnTo>
                  <a:cubicBezTo>
                    <a:pt x="58117" y="176807"/>
                    <a:pt x="52465" y="171155"/>
                    <a:pt x="52465" y="164029"/>
                  </a:cubicBezTo>
                  <a:lnTo>
                    <a:pt x="52465" y="164029"/>
                  </a:lnTo>
                  <a:close/>
                </a:path>
              </a:pathLst>
            </a:custGeom>
            <a:solidFill>
              <a:srgbClr val="F4B537"/>
            </a:solidFill>
            <a:ln w="9525" cap="flat">
              <a:noFill/>
              <a:prstDash val="solid"/>
              <a:miter/>
            </a:ln>
          </p:spPr>
          <p:txBody>
            <a:bodyPr rtlCol="0" anchor="ctr"/>
            <a:lstStyle/>
            <a:p>
              <a:endParaRPr lang="en-US" sz="1568"/>
            </a:p>
          </p:txBody>
        </p:sp>
        <p:sp>
          <p:nvSpPr>
            <p:cNvPr id="23" name="Freeform: Shape 22">
              <a:extLst>
                <a:ext uri="{FF2B5EF4-FFF2-40B4-BE49-F238E27FC236}">
                  <a16:creationId xmlns:a16="http://schemas.microsoft.com/office/drawing/2014/main" id="{62B9901C-A908-4BDE-A217-8CECEF4E414D}"/>
                </a:ext>
              </a:extLst>
            </p:cNvPr>
            <p:cNvSpPr/>
            <p:nvPr/>
          </p:nvSpPr>
          <p:spPr>
            <a:xfrm>
              <a:off x="6042036" y="5260554"/>
              <a:ext cx="39318" cy="122868"/>
            </a:xfrm>
            <a:custGeom>
              <a:avLst/>
              <a:gdLst>
                <a:gd name="connsiteX0" fmla="*/ 39686 w 39317"/>
                <a:gd name="connsiteY0" fmla="*/ 123237 h 122868"/>
                <a:gd name="connsiteX1" fmla="*/ 39686 w 39317"/>
                <a:gd name="connsiteY1" fmla="*/ 20765 h 122868"/>
                <a:gd name="connsiteX2" fmla="*/ 20765 w 39317"/>
                <a:gd name="connsiteY2" fmla="*/ 1843 h 122868"/>
                <a:gd name="connsiteX3" fmla="*/ 1843 w 39317"/>
                <a:gd name="connsiteY3" fmla="*/ 20765 h 122868"/>
                <a:gd name="connsiteX4" fmla="*/ 1843 w 39317"/>
                <a:gd name="connsiteY4" fmla="*/ 123237 h 122868"/>
                <a:gd name="connsiteX5" fmla="*/ 39686 w 39317"/>
                <a:gd name="connsiteY5" fmla="*/ 123237 h 12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17" h="122868">
                  <a:moveTo>
                    <a:pt x="39686" y="123237"/>
                  </a:moveTo>
                  <a:lnTo>
                    <a:pt x="39686" y="20765"/>
                  </a:lnTo>
                  <a:cubicBezTo>
                    <a:pt x="39686" y="10198"/>
                    <a:pt x="31086" y="1843"/>
                    <a:pt x="20765" y="1843"/>
                  </a:cubicBezTo>
                  <a:cubicBezTo>
                    <a:pt x="10198" y="1843"/>
                    <a:pt x="1843" y="10444"/>
                    <a:pt x="1843" y="20765"/>
                  </a:cubicBezTo>
                  <a:lnTo>
                    <a:pt x="1843" y="123237"/>
                  </a:lnTo>
                  <a:lnTo>
                    <a:pt x="39686" y="123237"/>
                  </a:lnTo>
                  <a:close/>
                </a:path>
              </a:pathLst>
            </a:custGeom>
            <a:solidFill>
              <a:srgbClr val="F4B537"/>
            </a:solidFill>
            <a:ln w="9525" cap="flat">
              <a:noFill/>
              <a:prstDash val="solid"/>
              <a:miter/>
            </a:ln>
          </p:spPr>
          <p:txBody>
            <a:bodyPr rtlCol="0" anchor="ctr"/>
            <a:lstStyle/>
            <a:p>
              <a:endParaRPr lang="en-US" sz="1568"/>
            </a:p>
          </p:txBody>
        </p:sp>
        <p:sp>
          <p:nvSpPr>
            <p:cNvPr id="24" name="Freeform: Shape 23">
              <a:extLst>
                <a:ext uri="{FF2B5EF4-FFF2-40B4-BE49-F238E27FC236}">
                  <a16:creationId xmlns:a16="http://schemas.microsoft.com/office/drawing/2014/main" id="{BB5FEB3E-B199-40AB-979B-16115E29CA8E}"/>
                </a:ext>
              </a:extLst>
            </p:cNvPr>
            <p:cNvSpPr/>
            <p:nvPr/>
          </p:nvSpPr>
          <p:spPr>
            <a:xfrm>
              <a:off x="6156303" y="5260554"/>
              <a:ext cx="39318" cy="122868"/>
            </a:xfrm>
            <a:custGeom>
              <a:avLst/>
              <a:gdLst>
                <a:gd name="connsiteX0" fmla="*/ 39686 w 39317"/>
                <a:gd name="connsiteY0" fmla="*/ 20765 h 122868"/>
                <a:gd name="connsiteX1" fmla="*/ 20765 w 39317"/>
                <a:gd name="connsiteY1" fmla="*/ 1843 h 122868"/>
                <a:gd name="connsiteX2" fmla="*/ 1843 w 39317"/>
                <a:gd name="connsiteY2" fmla="*/ 20765 h 122868"/>
                <a:gd name="connsiteX3" fmla="*/ 1843 w 39317"/>
                <a:gd name="connsiteY3" fmla="*/ 123237 h 122868"/>
                <a:gd name="connsiteX4" fmla="*/ 39686 w 39317"/>
                <a:gd name="connsiteY4" fmla="*/ 123237 h 122868"/>
                <a:gd name="connsiteX5" fmla="*/ 39686 w 39317"/>
                <a:gd name="connsiteY5" fmla="*/ 20765 h 12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17" h="122868">
                  <a:moveTo>
                    <a:pt x="39686" y="20765"/>
                  </a:moveTo>
                  <a:cubicBezTo>
                    <a:pt x="39686" y="10198"/>
                    <a:pt x="31086" y="1843"/>
                    <a:pt x="20765" y="1843"/>
                  </a:cubicBezTo>
                  <a:cubicBezTo>
                    <a:pt x="10198" y="1843"/>
                    <a:pt x="1843" y="10444"/>
                    <a:pt x="1843" y="20765"/>
                  </a:cubicBezTo>
                  <a:lnTo>
                    <a:pt x="1843" y="123237"/>
                  </a:lnTo>
                  <a:lnTo>
                    <a:pt x="39686" y="123237"/>
                  </a:lnTo>
                  <a:lnTo>
                    <a:pt x="39686" y="20765"/>
                  </a:lnTo>
                  <a:close/>
                </a:path>
              </a:pathLst>
            </a:custGeom>
            <a:solidFill>
              <a:srgbClr val="F4B537"/>
            </a:solidFill>
            <a:ln w="9525" cap="flat">
              <a:noFill/>
              <a:prstDash val="solid"/>
              <a:miter/>
            </a:ln>
          </p:spPr>
          <p:txBody>
            <a:bodyPr rtlCol="0" anchor="ctr"/>
            <a:lstStyle/>
            <a:p>
              <a:endParaRPr lang="en-US" sz="1568"/>
            </a:p>
          </p:txBody>
        </p:sp>
        <p:sp>
          <p:nvSpPr>
            <p:cNvPr id="25" name="Freeform: Shape 24">
              <a:extLst>
                <a:ext uri="{FF2B5EF4-FFF2-40B4-BE49-F238E27FC236}">
                  <a16:creationId xmlns:a16="http://schemas.microsoft.com/office/drawing/2014/main" id="{B685CF85-77EE-4BF2-954F-A83C30AFB1E1}"/>
                </a:ext>
              </a:extLst>
            </p:cNvPr>
            <p:cNvSpPr/>
            <p:nvPr/>
          </p:nvSpPr>
          <p:spPr>
            <a:xfrm>
              <a:off x="6471092" y="5300609"/>
              <a:ext cx="142527" cy="142527"/>
            </a:xfrm>
            <a:custGeom>
              <a:avLst/>
              <a:gdLst>
                <a:gd name="connsiteX0" fmla="*/ 142404 w 142527"/>
                <a:gd name="connsiteY0" fmla="*/ 72124 h 142527"/>
                <a:gd name="connsiteX1" fmla="*/ 72124 w 142527"/>
                <a:gd name="connsiteY1" fmla="*/ 142158 h 142527"/>
                <a:gd name="connsiteX2" fmla="*/ 1843 w 142527"/>
                <a:gd name="connsiteY2" fmla="*/ 72124 h 142527"/>
                <a:gd name="connsiteX3" fmla="*/ 72124 w 142527"/>
                <a:gd name="connsiteY3" fmla="*/ 1843 h 142527"/>
                <a:gd name="connsiteX4" fmla="*/ 142404 w 142527"/>
                <a:gd name="connsiteY4" fmla="*/ 72124 h 142527"/>
                <a:gd name="connsiteX5" fmla="*/ 142404 w 142527"/>
                <a:gd name="connsiteY5"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527" h="142527">
                  <a:moveTo>
                    <a:pt x="142404" y="72124"/>
                  </a:moveTo>
                  <a:cubicBezTo>
                    <a:pt x="142404" y="110950"/>
                    <a:pt x="110950" y="142158"/>
                    <a:pt x="72124" y="142158"/>
                  </a:cubicBezTo>
                  <a:cubicBezTo>
                    <a:pt x="33297" y="142158"/>
                    <a:pt x="1843" y="110704"/>
                    <a:pt x="1843" y="72124"/>
                  </a:cubicBezTo>
                  <a:cubicBezTo>
                    <a:pt x="1843" y="33297"/>
                    <a:pt x="33297" y="1843"/>
                    <a:pt x="72124" y="1843"/>
                  </a:cubicBezTo>
                  <a:cubicBezTo>
                    <a:pt x="110950" y="2089"/>
                    <a:pt x="142404" y="33543"/>
                    <a:pt x="142404" y="72124"/>
                  </a:cubicBezTo>
                  <a:lnTo>
                    <a:pt x="142404" y="72124"/>
                  </a:lnTo>
                  <a:close/>
                </a:path>
              </a:pathLst>
            </a:custGeom>
            <a:solidFill>
              <a:srgbClr val="FFCDBF"/>
            </a:solidFill>
            <a:ln w="9525" cap="flat">
              <a:noFill/>
              <a:prstDash val="solid"/>
              <a:miter/>
            </a:ln>
          </p:spPr>
          <p:txBody>
            <a:bodyPr rtlCol="0" anchor="ctr"/>
            <a:lstStyle/>
            <a:p>
              <a:endParaRPr lang="en-US" sz="1568"/>
            </a:p>
          </p:txBody>
        </p:sp>
        <p:sp>
          <p:nvSpPr>
            <p:cNvPr id="26" name="Freeform: Shape 25">
              <a:extLst>
                <a:ext uri="{FF2B5EF4-FFF2-40B4-BE49-F238E27FC236}">
                  <a16:creationId xmlns:a16="http://schemas.microsoft.com/office/drawing/2014/main" id="{58609F82-6F6D-40C5-BFCB-7A4CB68EAE3C}"/>
                </a:ext>
              </a:extLst>
            </p:cNvPr>
            <p:cNvSpPr/>
            <p:nvPr/>
          </p:nvSpPr>
          <p:spPr>
            <a:xfrm>
              <a:off x="6426613" y="5441170"/>
              <a:ext cx="233449" cy="149899"/>
            </a:xfrm>
            <a:custGeom>
              <a:avLst/>
              <a:gdLst>
                <a:gd name="connsiteX0" fmla="*/ 156411 w 233449"/>
                <a:gd name="connsiteY0" fmla="*/ 1843 h 149899"/>
                <a:gd name="connsiteX1" fmla="*/ 77038 w 233449"/>
                <a:gd name="connsiteY1" fmla="*/ 1843 h 149899"/>
                <a:gd name="connsiteX2" fmla="*/ 1843 w 233449"/>
                <a:gd name="connsiteY2" fmla="*/ 77038 h 149899"/>
                <a:gd name="connsiteX3" fmla="*/ 1843 w 233449"/>
                <a:gd name="connsiteY3" fmla="*/ 135769 h 149899"/>
                <a:gd name="connsiteX4" fmla="*/ 14621 w 233449"/>
                <a:gd name="connsiteY4" fmla="*/ 148548 h 149899"/>
                <a:gd name="connsiteX5" fmla="*/ 218828 w 233449"/>
                <a:gd name="connsiteY5" fmla="*/ 148548 h 149899"/>
                <a:gd name="connsiteX6" fmla="*/ 231606 w 233449"/>
                <a:gd name="connsiteY6" fmla="*/ 135769 h 149899"/>
                <a:gd name="connsiteX7" fmla="*/ 231606 w 233449"/>
                <a:gd name="connsiteY7" fmla="*/ 77038 h 149899"/>
                <a:gd name="connsiteX8" fmla="*/ 156411 w 233449"/>
                <a:gd name="connsiteY8" fmla="*/ 1843 h 149899"/>
                <a:gd name="connsiteX9" fmla="*/ 156411 w 233449"/>
                <a:gd name="connsiteY9" fmla="*/ 1843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3449" h="149899">
                  <a:moveTo>
                    <a:pt x="156411" y="1843"/>
                  </a:moveTo>
                  <a:lnTo>
                    <a:pt x="77038" y="1843"/>
                  </a:lnTo>
                  <a:cubicBezTo>
                    <a:pt x="35755" y="1843"/>
                    <a:pt x="1843" y="35755"/>
                    <a:pt x="1843" y="77038"/>
                  </a:cubicBezTo>
                  <a:lnTo>
                    <a:pt x="1843" y="135769"/>
                  </a:lnTo>
                  <a:cubicBezTo>
                    <a:pt x="1843" y="142896"/>
                    <a:pt x="7495" y="148548"/>
                    <a:pt x="14621" y="148548"/>
                  </a:cubicBezTo>
                  <a:lnTo>
                    <a:pt x="218828" y="148548"/>
                  </a:lnTo>
                  <a:cubicBezTo>
                    <a:pt x="225954" y="148548"/>
                    <a:pt x="231606" y="142896"/>
                    <a:pt x="231606" y="135769"/>
                  </a:cubicBezTo>
                  <a:lnTo>
                    <a:pt x="231606" y="77038"/>
                  </a:lnTo>
                  <a:cubicBezTo>
                    <a:pt x="231606" y="35509"/>
                    <a:pt x="197695" y="1843"/>
                    <a:pt x="156411" y="1843"/>
                  </a:cubicBezTo>
                  <a:lnTo>
                    <a:pt x="156411" y="1843"/>
                  </a:lnTo>
                  <a:close/>
                </a:path>
              </a:pathLst>
            </a:custGeom>
            <a:solidFill>
              <a:srgbClr val="FF6B6B"/>
            </a:solidFill>
            <a:ln w="9525" cap="flat">
              <a:noFill/>
              <a:prstDash val="solid"/>
              <a:miter/>
            </a:ln>
          </p:spPr>
          <p:txBody>
            <a:bodyPr rtlCol="0" anchor="ctr"/>
            <a:lstStyle/>
            <a:p>
              <a:endParaRPr lang="en-US" sz="1568"/>
            </a:p>
          </p:txBody>
        </p:sp>
        <p:sp>
          <p:nvSpPr>
            <p:cNvPr id="28" name="Freeform: Shape 27">
              <a:extLst>
                <a:ext uri="{FF2B5EF4-FFF2-40B4-BE49-F238E27FC236}">
                  <a16:creationId xmlns:a16="http://schemas.microsoft.com/office/drawing/2014/main" id="{F50495F5-B21B-4932-B539-76AB37830362}"/>
                </a:ext>
              </a:extLst>
            </p:cNvPr>
            <p:cNvSpPr/>
            <p:nvPr/>
          </p:nvSpPr>
          <p:spPr>
            <a:xfrm>
              <a:off x="6426613" y="5441170"/>
              <a:ext cx="127783" cy="149899"/>
            </a:xfrm>
            <a:custGeom>
              <a:avLst/>
              <a:gdLst>
                <a:gd name="connsiteX0" fmla="*/ 52465 w 127782"/>
                <a:gd name="connsiteY0" fmla="*/ 135769 h 149899"/>
                <a:gd name="connsiteX1" fmla="*/ 52465 w 127782"/>
                <a:gd name="connsiteY1" fmla="*/ 77038 h 149899"/>
                <a:gd name="connsiteX2" fmla="*/ 127660 w 127782"/>
                <a:gd name="connsiteY2" fmla="*/ 1843 h 149899"/>
                <a:gd name="connsiteX3" fmla="*/ 77038 w 127782"/>
                <a:gd name="connsiteY3" fmla="*/ 1843 h 149899"/>
                <a:gd name="connsiteX4" fmla="*/ 1843 w 127782"/>
                <a:gd name="connsiteY4" fmla="*/ 77038 h 149899"/>
                <a:gd name="connsiteX5" fmla="*/ 1843 w 127782"/>
                <a:gd name="connsiteY5" fmla="*/ 135769 h 149899"/>
                <a:gd name="connsiteX6" fmla="*/ 14621 w 127782"/>
                <a:gd name="connsiteY6" fmla="*/ 148548 h 149899"/>
                <a:gd name="connsiteX7" fmla="*/ 65243 w 127782"/>
                <a:gd name="connsiteY7" fmla="*/ 148548 h 149899"/>
                <a:gd name="connsiteX8" fmla="*/ 52465 w 127782"/>
                <a:gd name="connsiteY8" fmla="*/ 135769 h 149899"/>
                <a:gd name="connsiteX9" fmla="*/ 52465 w 127782"/>
                <a:gd name="connsiteY9" fmla="*/ 135769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82" h="149899">
                  <a:moveTo>
                    <a:pt x="52465" y="135769"/>
                  </a:moveTo>
                  <a:lnTo>
                    <a:pt x="52465" y="77038"/>
                  </a:lnTo>
                  <a:cubicBezTo>
                    <a:pt x="52465" y="35755"/>
                    <a:pt x="86376" y="1843"/>
                    <a:pt x="127660" y="1843"/>
                  </a:cubicBezTo>
                  <a:lnTo>
                    <a:pt x="77038" y="1843"/>
                  </a:lnTo>
                  <a:cubicBezTo>
                    <a:pt x="35755" y="1843"/>
                    <a:pt x="1843" y="35755"/>
                    <a:pt x="1843" y="77038"/>
                  </a:cubicBezTo>
                  <a:lnTo>
                    <a:pt x="1843" y="135769"/>
                  </a:lnTo>
                  <a:cubicBezTo>
                    <a:pt x="1843" y="142896"/>
                    <a:pt x="7495" y="148548"/>
                    <a:pt x="14621" y="148548"/>
                  </a:cubicBezTo>
                  <a:lnTo>
                    <a:pt x="65243" y="148548"/>
                  </a:lnTo>
                  <a:cubicBezTo>
                    <a:pt x="58117" y="148548"/>
                    <a:pt x="52465" y="142896"/>
                    <a:pt x="52465" y="135769"/>
                  </a:cubicBezTo>
                  <a:lnTo>
                    <a:pt x="52465" y="135769"/>
                  </a:lnTo>
                  <a:close/>
                </a:path>
              </a:pathLst>
            </a:custGeom>
            <a:solidFill>
              <a:srgbClr val="EE5253"/>
            </a:solidFill>
            <a:ln w="9525" cap="flat">
              <a:noFill/>
              <a:prstDash val="solid"/>
              <a:miter/>
            </a:ln>
          </p:spPr>
          <p:txBody>
            <a:bodyPr rtlCol="0" anchor="ctr"/>
            <a:lstStyle/>
            <a:p>
              <a:endParaRPr lang="en-US" sz="1568"/>
            </a:p>
          </p:txBody>
        </p:sp>
        <p:sp>
          <p:nvSpPr>
            <p:cNvPr id="29" name="Freeform: Shape 28">
              <a:extLst>
                <a:ext uri="{FF2B5EF4-FFF2-40B4-BE49-F238E27FC236}">
                  <a16:creationId xmlns:a16="http://schemas.microsoft.com/office/drawing/2014/main" id="{91E77C0D-DB2F-4D1F-8ECF-A8B47ED0E50C}"/>
                </a:ext>
              </a:extLst>
            </p:cNvPr>
            <p:cNvSpPr/>
            <p:nvPr/>
          </p:nvSpPr>
          <p:spPr>
            <a:xfrm>
              <a:off x="6579707" y="5494741"/>
              <a:ext cx="41775" cy="95837"/>
            </a:xfrm>
            <a:custGeom>
              <a:avLst/>
              <a:gdLst>
                <a:gd name="connsiteX0" fmla="*/ 39686 w 41775"/>
                <a:gd name="connsiteY0" fmla="*/ 20765 h 95837"/>
                <a:gd name="connsiteX1" fmla="*/ 20765 w 41775"/>
                <a:gd name="connsiteY1" fmla="*/ 1843 h 95837"/>
                <a:gd name="connsiteX2" fmla="*/ 1843 w 41775"/>
                <a:gd name="connsiteY2" fmla="*/ 20765 h 95837"/>
                <a:gd name="connsiteX3" fmla="*/ 1843 w 41775"/>
                <a:gd name="connsiteY3" fmla="*/ 94977 h 95837"/>
                <a:gd name="connsiteX4" fmla="*/ 39932 w 41775"/>
                <a:gd name="connsiteY4" fmla="*/ 94977 h 95837"/>
                <a:gd name="connsiteX5" fmla="*/ 39932 w 41775"/>
                <a:gd name="connsiteY5" fmla="*/ 20765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775" h="95837">
                  <a:moveTo>
                    <a:pt x="39686" y="20765"/>
                  </a:moveTo>
                  <a:cubicBezTo>
                    <a:pt x="39686" y="10198"/>
                    <a:pt x="31086" y="1843"/>
                    <a:pt x="20765" y="1843"/>
                  </a:cubicBezTo>
                  <a:cubicBezTo>
                    <a:pt x="10198" y="1843"/>
                    <a:pt x="1843" y="10444"/>
                    <a:pt x="1843" y="20765"/>
                  </a:cubicBezTo>
                  <a:lnTo>
                    <a:pt x="1843" y="94977"/>
                  </a:lnTo>
                  <a:lnTo>
                    <a:pt x="39932" y="94977"/>
                  </a:lnTo>
                  <a:lnTo>
                    <a:pt x="39932" y="20765"/>
                  </a:lnTo>
                  <a:close/>
                </a:path>
              </a:pathLst>
            </a:custGeom>
            <a:solidFill>
              <a:srgbClr val="EE5253"/>
            </a:solidFill>
            <a:ln w="9525" cap="flat">
              <a:noFill/>
              <a:prstDash val="solid"/>
              <a:miter/>
            </a:ln>
          </p:spPr>
          <p:txBody>
            <a:bodyPr rtlCol="0" anchor="ctr"/>
            <a:lstStyle/>
            <a:p>
              <a:endParaRPr lang="en-US" sz="1568"/>
            </a:p>
          </p:txBody>
        </p:sp>
        <p:sp>
          <p:nvSpPr>
            <p:cNvPr id="30" name="Freeform: Shape 29">
              <a:extLst>
                <a:ext uri="{FF2B5EF4-FFF2-40B4-BE49-F238E27FC236}">
                  <a16:creationId xmlns:a16="http://schemas.microsoft.com/office/drawing/2014/main" id="{6689CDEB-97D9-4D7A-AF85-944E1CDF2C77}"/>
                </a:ext>
              </a:extLst>
            </p:cNvPr>
            <p:cNvSpPr/>
            <p:nvPr/>
          </p:nvSpPr>
          <p:spPr>
            <a:xfrm>
              <a:off x="6465440" y="5494741"/>
              <a:ext cx="39318" cy="95837"/>
            </a:xfrm>
            <a:custGeom>
              <a:avLst/>
              <a:gdLst>
                <a:gd name="connsiteX0" fmla="*/ 39686 w 39317"/>
                <a:gd name="connsiteY0" fmla="*/ 94977 h 95837"/>
                <a:gd name="connsiteX1" fmla="*/ 39686 w 39317"/>
                <a:gd name="connsiteY1" fmla="*/ 20765 h 95837"/>
                <a:gd name="connsiteX2" fmla="*/ 20765 w 39317"/>
                <a:gd name="connsiteY2" fmla="*/ 1843 h 95837"/>
                <a:gd name="connsiteX3" fmla="*/ 1843 w 39317"/>
                <a:gd name="connsiteY3" fmla="*/ 20765 h 95837"/>
                <a:gd name="connsiteX4" fmla="*/ 1843 w 39317"/>
                <a:gd name="connsiteY4" fmla="*/ 94977 h 95837"/>
                <a:gd name="connsiteX5" fmla="*/ 39686 w 39317"/>
                <a:gd name="connsiteY5" fmla="*/ 94977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17" h="95837">
                  <a:moveTo>
                    <a:pt x="39686" y="94977"/>
                  </a:moveTo>
                  <a:lnTo>
                    <a:pt x="39686" y="20765"/>
                  </a:lnTo>
                  <a:cubicBezTo>
                    <a:pt x="39686" y="10198"/>
                    <a:pt x="31086" y="1843"/>
                    <a:pt x="20765" y="1843"/>
                  </a:cubicBezTo>
                  <a:cubicBezTo>
                    <a:pt x="10198" y="1843"/>
                    <a:pt x="1843" y="10444"/>
                    <a:pt x="1843" y="20765"/>
                  </a:cubicBezTo>
                  <a:lnTo>
                    <a:pt x="1843" y="94977"/>
                  </a:lnTo>
                  <a:lnTo>
                    <a:pt x="39686" y="94977"/>
                  </a:lnTo>
                  <a:close/>
                </a:path>
              </a:pathLst>
            </a:custGeom>
            <a:solidFill>
              <a:srgbClr val="EE5253"/>
            </a:solidFill>
            <a:ln w="9525" cap="flat">
              <a:noFill/>
              <a:prstDash val="solid"/>
              <a:miter/>
            </a:ln>
          </p:spPr>
          <p:txBody>
            <a:bodyPr rtlCol="0" anchor="ctr"/>
            <a:lstStyle/>
            <a:p>
              <a:endParaRPr lang="en-US" sz="1568"/>
            </a:p>
          </p:txBody>
        </p:sp>
        <p:sp>
          <p:nvSpPr>
            <p:cNvPr id="31" name="Freeform: Shape 30">
              <a:extLst>
                <a:ext uri="{FF2B5EF4-FFF2-40B4-BE49-F238E27FC236}">
                  <a16:creationId xmlns:a16="http://schemas.microsoft.com/office/drawing/2014/main" id="{ECFCE4D4-C0D5-4FEE-A833-E51D85C3EDBE}"/>
                </a:ext>
              </a:extLst>
            </p:cNvPr>
            <p:cNvSpPr/>
            <p:nvPr/>
          </p:nvSpPr>
          <p:spPr>
            <a:xfrm>
              <a:off x="5624284" y="5300609"/>
              <a:ext cx="142527" cy="142527"/>
            </a:xfrm>
            <a:custGeom>
              <a:avLst/>
              <a:gdLst>
                <a:gd name="connsiteX0" fmla="*/ 142404 w 142527"/>
                <a:gd name="connsiteY0" fmla="*/ 72124 h 142527"/>
                <a:gd name="connsiteX1" fmla="*/ 72124 w 142527"/>
                <a:gd name="connsiteY1" fmla="*/ 142158 h 142527"/>
                <a:gd name="connsiteX2" fmla="*/ 1843 w 142527"/>
                <a:gd name="connsiteY2" fmla="*/ 72124 h 142527"/>
                <a:gd name="connsiteX3" fmla="*/ 72124 w 142527"/>
                <a:gd name="connsiteY3" fmla="*/ 1843 h 142527"/>
                <a:gd name="connsiteX4" fmla="*/ 142404 w 142527"/>
                <a:gd name="connsiteY4" fmla="*/ 72124 h 142527"/>
                <a:gd name="connsiteX5" fmla="*/ 142404 w 142527"/>
                <a:gd name="connsiteY5"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527" h="142527">
                  <a:moveTo>
                    <a:pt x="142404" y="72124"/>
                  </a:moveTo>
                  <a:cubicBezTo>
                    <a:pt x="142404" y="110950"/>
                    <a:pt x="110950" y="142158"/>
                    <a:pt x="72124" y="142158"/>
                  </a:cubicBezTo>
                  <a:cubicBezTo>
                    <a:pt x="33297" y="142158"/>
                    <a:pt x="1843" y="110704"/>
                    <a:pt x="1843" y="72124"/>
                  </a:cubicBezTo>
                  <a:cubicBezTo>
                    <a:pt x="1843" y="33297"/>
                    <a:pt x="33297" y="1843"/>
                    <a:pt x="72124" y="1843"/>
                  </a:cubicBezTo>
                  <a:cubicBezTo>
                    <a:pt x="110950" y="1843"/>
                    <a:pt x="142404" y="33543"/>
                    <a:pt x="142404" y="72124"/>
                  </a:cubicBezTo>
                  <a:lnTo>
                    <a:pt x="142404" y="72124"/>
                  </a:lnTo>
                  <a:close/>
                </a:path>
              </a:pathLst>
            </a:custGeom>
            <a:solidFill>
              <a:srgbClr val="FFCDBF"/>
            </a:solidFill>
            <a:ln w="9525" cap="flat">
              <a:noFill/>
              <a:prstDash val="solid"/>
              <a:miter/>
            </a:ln>
          </p:spPr>
          <p:txBody>
            <a:bodyPr rtlCol="0" anchor="ctr"/>
            <a:lstStyle/>
            <a:p>
              <a:endParaRPr lang="en-US" sz="1568"/>
            </a:p>
          </p:txBody>
        </p:sp>
        <p:sp>
          <p:nvSpPr>
            <p:cNvPr id="32" name="Freeform: Shape 31">
              <a:extLst>
                <a:ext uri="{FF2B5EF4-FFF2-40B4-BE49-F238E27FC236}">
                  <a16:creationId xmlns:a16="http://schemas.microsoft.com/office/drawing/2014/main" id="{30610F77-AF6B-4825-BD42-C99E1E4F4D88}"/>
                </a:ext>
              </a:extLst>
            </p:cNvPr>
            <p:cNvSpPr/>
            <p:nvPr/>
          </p:nvSpPr>
          <p:spPr>
            <a:xfrm>
              <a:off x="5579806" y="5441170"/>
              <a:ext cx="233449" cy="149899"/>
            </a:xfrm>
            <a:custGeom>
              <a:avLst/>
              <a:gdLst>
                <a:gd name="connsiteX0" fmla="*/ 156411 w 233449"/>
                <a:gd name="connsiteY0" fmla="*/ 1843 h 149899"/>
                <a:gd name="connsiteX1" fmla="*/ 77038 w 233449"/>
                <a:gd name="connsiteY1" fmla="*/ 1843 h 149899"/>
                <a:gd name="connsiteX2" fmla="*/ 1843 w 233449"/>
                <a:gd name="connsiteY2" fmla="*/ 77038 h 149899"/>
                <a:gd name="connsiteX3" fmla="*/ 1843 w 233449"/>
                <a:gd name="connsiteY3" fmla="*/ 135769 h 149899"/>
                <a:gd name="connsiteX4" fmla="*/ 14621 w 233449"/>
                <a:gd name="connsiteY4" fmla="*/ 148548 h 149899"/>
                <a:gd name="connsiteX5" fmla="*/ 218828 w 233449"/>
                <a:gd name="connsiteY5" fmla="*/ 148548 h 149899"/>
                <a:gd name="connsiteX6" fmla="*/ 231606 w 233449"/>
                <a:gd name="connsiteY6" fmla="*/ 135769 h 149899"/>
                <a:gd name="connsiteX7" fmla="*/ 231606 w 233449"/>
                <a:gd name="connsiteY7" fmla="*/ 77038 h 149899"/>
                <a:gd name="connsiteX8" fmla="*/ 156411 w 233449"/>
                <a:gd name="connsiteY8" fmla="*/ 1843 h 149899"/>
                <a:gd name="connsiteX9" fmla="*/ 156411 w 233449"/>
                <a:gd name="connsiteY9" fmla="*/ 1843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3449" h="149899">
                  <a:moveTo>
                    <a:pt x="156411" y="1843"/>
                  </a:moveTo>
                  <a:lnTo>
                    <a:pt x="77038" y="1843"/>
                  </a:lnTo>
                  <a:cubicBezTo>
                    <a:pt x="35755" y="1843"/>
                    <a:pt x="1843" y="35509"/>
                    <a:pt x="1843" y="77038"/>
                  </a:cubicBezTo>
                  <a:lnTo>
                    <a:pt x="1843" y="135769"/>
                  </a:lnTo>
                  <a:cubicBezTo>
                    <a:pt x="1843" y="142896"/>
                    <a:pt x="7495" y="148548"/>
                    <a:pt x="14621" y="148548"/>
                  </a:cubicBezTo>
                  <a:lnTo>
                    <a:pt x="218828" y="148548"/>
                  </a:lnTo>
                  <a:cubicBezTo>
                    <a:pt x="225955" y="148548"/>
                    <a:pt x="231606" y="142896"/>
                    <a:pt x="231606" y="135769"/>
                  </a:cubicBezTo>
                  <a:lnTo>
                    <a:pt x="231606" y="77038"/>
                  </a:lnTo>
                  <a:cubicBezTo>
                    <a:pt x="231606" y="35509"/>
                    <a:pt x="197695" y="1843"/>
                    <a:pt x="156411" y="1843"/>
                  </a:cubicBezTo>
                  <a:lnTo>
                    <a:pt x="156411" y="1843"/>
                  </a:lnTo>
                  <a:close/>
                </a:path>
              </a:pathLst>
            </a:custGeom>
            <a:solidFill>
              <a:srgbClr val="FF6B6B"/>
            </a:solidFill>
            <a:ln w="9525" cap="flat">
              <a:noFill/>
              <a:prstDash val="solid"/>
              <a:miter/>
            </a:ln>
          </p:spPr>
          <p:txBody>
            <a:bodyPr rtlCol="0" anchor="ctr"/>
            <a:lstStyle/>
            <a:p>
              <a:endParaRPr lang="en-US" sz="1568"/>
            </a:p>
          </p:txBody>
        </p:sp>
        <p:sp>
          <p:nvSpPr>
            <p:cNvPr id="33" name="Freeform: Shape 32">
              <a:extLst>
                <a:ext uri="{FF2B5EF4-FFF2-40B4-BE49-F238E27FC236}">
                  <a16:creationId xmlns:a16="http://schemas.microsoft.com/office/drawing/2014/main" id="{3D8E315D-838A-487B-A907-18508D1CCB33}"/>
                </a:ext>
              </a:extLst>
            </p:cNvPr>
            <p:cNvSpPr/>
            <p:nvPr/>
          </p:nvSpPr>
          <p:spPr>
            <a:xfrm>
              <a:off x="5579806" y="5441170"/>
              <a:ext cx="127783" cy="149899"/>
            </a:xfrm>
            <a:custGeom>
              <a:avLst/>
              <a:gdLst>
                <a:gd name="connsiteX0" fmla="*/ 52465 w 127782"/>
                <a:gd name="connsiteY0" fmla="*/ 135769 h 149899"/>
                <a:gd name="connsiteX1" fmla="*/ 52465 w 127782"/>
                <a:gd name="connsiteY1" fmla="*/ 77038 h 149899"/>
                <a:gd name="connsiteX2" fmla="*/ 127660 w 127782"/>
                <a:gd name="connsiteY2" fmla="*/ 1843 h 149899"/>
                <a:gd name="connsiteX3" fmla="*/ 77038 w 127782"/>
                <a:gd name="connsiteY3" fmla="*/ 1843 h 149899"/>
                <a:gd name="connsiteX4" fmla="*/ 1843 w 127782"/>
                <a:gd name="connsiteY4" fmla="*/ 77038 h 149899"/>
                <a:gd name="connsiteX5" fmla="*/ 1843 w 127782"/>
                <a:gd name="connsiteY5" fmla="*/ 135769 h 149899"/>
                <a:gd name="connsiteX6" fmla="*/ 14621 w 127782"/>
                <a:gd name="connsiteY6" fmla="*/ 148548 h 149899"/>
                <a:gd name="connsiteX7" fmla="*/ 65243 w 127782"/>
                <a:gd name="connsiteY7" fmla="*/ 148548 h 149899"/>
                <a:gd name="connsiteX8" fmla="*/ 52465 w 127782"/>
                <a:gd name="connsiteY8" fmla="*/ 135769 h 149899"/>
                <a:gd name="connsiteX9" fmla="*/ 52465 w 127782"/>
                <a:gd name="connsiteY9" fmla="*/ 135769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82" h="149899">
                  <a:moveTo>
                    <a:pt x="52465" y="135769"/>
                  </a:moveTo>
                  <a:lnTo>
                    <a:pt x="52465" y="77038"/>
                  </a:lnTo>
                  <a:cubicBezTo>
                    <a:pt x="52465" y="35755"/>
                    <a:pt x="86376" y="1843"/>
                    <a:pt x="127660" y="1843"/>
                  </a:cubicBezTo>
                  <a:lnTo>
                    <a:pt x="77038" y="1843"/>
                  </a:lnTo>
                  <a:cubicBezTo>
                    <a:pt x="35755" y="1843"/>
                    <a:pt x="1843" y="35509"/>
                    <a:pt x="1843" y="77038"/>
                  </a:cubicBezTo>
                  <a:lnTo>
                    <a:pt x="1843" y="135769"/>
                  </a:lnTo>
                  <a:cubicBezTo>
                    <a:pt x="1843" y="142896"/>
                    <a:pt x="7495" y="148548"/>
                    <a:pt x="14621" y="148548"/>
                  </a:cubicBezTo>
                  <a:lnTo>
                    <a:pt x="65243" y="148548"/>
                  </a:lnTo>
                  <a:cubicBezTo>
                    <a:pt x="58117" y="148548"/>
                    <a:pt x="52465" y="142896"/>
                    <a:pt x="52465" y="135769"/>
                  </a:cubicBezTo>
                  <a:lnTo>
                    <a:pt x="52465" y="135769"/>
                  </a:lnTo>
                  <a:close/>
                </a:path>
              </a:pathLst>
            </a:custGeom>
            <a:solidFill>
              <a:srgbClr val="EE5253"/>
            </a:solidFill>
            <a:ln w="9525" cap="flat">
              <a:noFill/>
              <a:prstDash val="solid"/>
              <a:miter/>
            </a:ln>
          </p:spPr>
          <p:txBody>
            <a:bodyPr rtlCol="0" anchor="ctr"/>
            <a:lstStyle/>
            <a:p>
              <a:endParaRPr lang="en-US" sz="1568"/>
            </a:p>
          </p:txBody>
        </p:sp>
        <p:sp>
          <p:nvSpPr>
            <p:cNvPr id="34" name="Freeform: Shape 33">
              <a:extLst>
                <a:ext uri="{FF2B5EF4-FFF2-40B4-BE49-F238E27FC236}">
                  <a16:creationId xmlns:a16="http://schemas.microsoft.com/office/drawing/2014/main" id="{4826BCCE-9696-4DED-BAC0-38DD48764409}"/>
                </a:ext>
              </a:extLst>
            </p:cNvPr>
            <p:cNvSpPr/>
            <p:nvPr/>
          </p:nvSpPr>
          <p:spPr>
            <a:xfrm>
              <a:off x="5732900" y="5494741"/>
              <a:ext cx="41775" cy="95837"/>
            </a:xfrm>
            <a:custGeom>
              <a:avLst/>
              <a:gdLst>
                <a:gd name="connsiteX0" fmla="*/ 39686 w 41775"/>
                <a:gd name="connsiteY0" fmla="*/ 20765 h 95837"/>
                <a:gd name="connsiteX1" fmla="*/ 20765 w 41775"/>
                <a:gd name="connsiteY1" fmla="*/ 1843 h 95837"/>
                <a:gd name="connsiteX2" fmla="*/ 1843 w 41775"/>
                <a:gd name="connsiteY2" fmla="*/ 20765 h 95837"/>
                <a:gd name="connsiteX3" fmla="*/ 1843 w 41775"/>
                <a:gd name="connsiteY3" fmla="*/ 94977 h 95837"/>
                <a:gd name="connsiteX4" fmla="*/ 39932 w 41775"/>
                <a:gd name="connsiteY4" fmla="*/ 94977 h 95837"/>
                <a:gd name="connsiteX5" fmla="*/ 39932 w 41775"/>
                <a:gd name="connsiteY5" fmla="*/ 20765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775" h="95837">
                  <a:moveTo>
                    <a:pt x="39686" y="20765"/>
                  </a:moveTo>
                  <a:cubicBezTo>
                    <a:pt x="39686" y="10198"/>
                    <a:pt x="31086" y="1843"/>
                    <a:pt x="20765" y="1843"/>
                  </a:cubicBezTo>
                  <a:cubicBezTo>
                    <a:pt x="10198" y="1843"/>
                    <a:pt x="1843" y="10444"/>
                    <a:pt x="1843" y="20765"/>
                  </a:cubicBezTo>
                  <a:lnTo>
                    <a:pt x="1843" y="94977"/>
                  </a:lnTo>
                  <a:lnTo>
                    <a:pt x="39932" y="94977"/>
                  </a:lnTo>
                  <a:lnTo>
                    <a:pt x="39932" y="20765"/>
                  </a:lnTo>
                  <a:close/>
                </a:path>
              </a:pathLst>
            </a:custGeom>
            <a:solidFill>
              <a:srgbClr val="EE5253"/>
            </a:solidFill>
            <a:ln w="9525" cap="flat">
              <a:noFill/>
              <a:prstDash val="solid"/>
              <a:miter/>
            </a:ln>
          </p:spPr>
          <p:txBody>
            <a:bodyPr rtlCol="0" anchor="ctr"/>
            <a:lstStyle/>
            <a:p>
              <a:endParaRPr lang="en-US" sz="1568"/>
            </a:p>
          </p:txBody>
        </p:sp>
        <p:sp>
          <p:nvSpPr>
            <p:cNvPr id="35" name="Freeform: Shape 34">
              <a:extLst>
                <a:ext uri="{FF2B5EF4-FFF2-40B4-BE49-F238E27FC236}">
                  <a16:creationId xmlns:a16="http://schemas.microsoft.com/office/drawing/2014/main" id="{59175700-9114-4BA5-96A1-9929CA5AD050}"/>
                </a:ext>
              </a:extLst>
            </p:cNvPr>
            <p:cNvSpPr/>
            <p:nvPr/>
          </p:nvSpPr>
          <p:spPr>
            <a:xfrm>
              <a:off x="5618632" y="5494741"/>
              <a:ext cx="39318" cy="95837"/>
            </a:xfrm>
            <a:custGeom>
              <a:avLst/>
              <a:gdLst>
                <a:gd name="connsiteX0" fmla="*/ 39686 w 39317"/>
                <a:gd name="connsiteY0" fmla="*/ 94977 h 95837"/>
                <a:gd name="connsiteX1" fmla="*/ 39686 w 39317"/>
                <a:gd name="connsiteY1" fmla="*/ 20765 h 95837"/>
                <a:gd name="connsiteX2" fmla="*/ 20765 w 39317"/>
                <a:gd name="connsiteY2" fmla="*/ 1843 h 95837"/>
                <a:gd name="connsiteX3" fmla="*/ 1843 w 39317"/>
                <a:gd name="connsiteY3" fmla="*/ 20765 h 95837"/>
                <a:gd name="connsiteX4" fmla="*/ 1843 w 39317"/>
                <a:gd name="connsiteY4" fmla="*/ 94977 h 95837"/>
                <a:gd name="connsiteX5" fmla="*/ 39686 w 39317"/>
                <a:gd name="connsiteY5" fmla="*/ 94977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17" h="95837">
                  <a:moveTo>
                    <a:pt x="39686" y="94977"/>
                  </a:moveTo>
                  <a:lnTo>
                    <a:pt x="39686" y="20765"/>
                  </a:lnTo>
                  <a:cubicBezTo>
                    <a:pt x="39686" y="10198"/>
                    <a:pt x="31086" y="1843"/>
                    <a:pt x="20765" y="1843"/>
                  </a:cubicBezTo>
                  <a:cubicBezTo>
                    <a:pt x="10198" y="1843"/>
                    <a:pt x="1843" y="10444"/>
                    <a:pt x="1843" y="20765"/>
                  </a:cubicBezTo>
                  <a:lnTo>
                    <a:pt x="1843" y="94977"/>
                  </a:lnTo>
                  <a:lnTo>
                    <a:pt x="39686" y="94977"/>
                  </a:lnTo>
                  <a:close/>
                </a:path>
              </a:pathLst>
            </a:custGeom>
            <a:solidFill>
              <a:srgbClr val="EE5253"/>
            </a:solidFill>
            <a:ln w="9525" cap="flat">
              <a:noFill/>
              <a:prstDash val="solid"/>
              <a:miter/>
            </a:ln>
          </p:spPr>
          <p:txBody>
            <a:bodyPr rtlCol="0" anchor="ctr"/>
            <a:lstStyle/>
            <a:p>
              <a:endParaRPr lang="en-US" sz="1568"/>
            </a:p>
          </p:txBody>
        </p:sp>
        <p:sp>
          <p:nvSpPr>
            <p:cNvPr id="36" name="Freeform: Shape 35">
              <a:extLst>
                <a:ext uri="{FF2B5EF4-FFF2-40B4-BE49-F238E27FC236}">
                  <a16:creationId xmlns:a16="http://schemas.microsoft.com/office/drawing/2014/main" id="{C466A2B1-C231-41D8-B550-49E438BAFDC9}"/>
                </a:ext>
              </a:extLst>
            </p:cNvPr>
            <p:cNvSpPr/>
            <p:nvPr/>
          </p:nvSpPr>
          <p:spPr>
            <a:xfrm>
              <a:off x="6471092" y="4858775"/>
              <a:ext cx="142527" cy="142527"/>
            </a:xfrm>
            <a:custGeom>
              <a:avLst/>
              <a:gdLst>
                <a:gd name="connsiteX0" fmla="*/ 142404 w 142527"/>
                <a:gd name="connsiteY0" fmla="*/ 72124 h 142527"/>
                <a:gd name="connsiteX1" fmla="*/ 72124 w 142527"/>
                <a:gd name="connsiteY1" fmla="*/ 142404 h 142527"/>
                <a:gd name="connsiteX2" fmla="*/ 1843 w 142527"/>
                <a:gd name="connsiteY2" fmla="*/ 72124 h 142527"/>
                <a:gd name="connsiteX3" fmla="*/ 72124 w 142527"/>
                <a:gd name="connsiteY3" fmla="*/ 1843 h 142527"/>
                <a:gd name="connsiteX4" fmla="*/ 142404 w 142527"/>
                <a:gd name="connsiteY4" fmla="*/ 72124 h 142527"/>
                <a:gd name="connsiteX5" fmla="*/ 142404 w 142527"/>
                <a:gd name="connsiteY5"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527" h="142527">
                  <a:moveTo>
                    <a:pt x="142404" y="72124"/>
                  </a:moveTo>
                  <a:cubicBezTo>
                    <a:pt x="142404" y="110950"/>
                    <a:pt x="110950" y="142404"/>
                    <a:pt x="72124" y="142404"/>
                  </a:cubicBezTo>
                  <a:cubicBezTo>
                    <a:pt x="33297" y="142404"/>
                    <a:pt x="1843" y="110950"/>
                    <a:pt x="1843" y="72124"/>
                  </a:cubicBezTo>
                  <a:cubicBezTo>
                    <a:pt x="1843" y="33297"/>
                    <a:pt x="33297" y="1843"/>
                    <a:pt x="72124" y="1843"/>
                  </a:cubicBezTo>
                  <a:cubicBezTo>
                    <a:pt x="110950" y="2089"/>
                    <a:pt x="142404" y="33543"/>
                    <a:pt x="142404" y="72124"/>
                  </a:cubicBezTo>
                  <a:lnTo>
                    <a:pt x="142404" y="72124"/>
                  </a:lnTo>
                  <a:close/>
                </a:path>
              </a:pathLst>
            </a:custGeom>
            <a:solidFill>
              <a:srgbClr val="FFCDBF"/>
            </a:solidFill>
            <a:ln w="9525" cap="flat">
              <a:noFill/>
              <a:prstDash val="solid"/>
              <a:miter/>
            </a:ln>
          </p:spPr>
          <p:txBody>
            <a:bodyPr rtlCol="0" anchor="ctr"/>
            <a:lstStyle/>
            <a:p>
              <a:endParaRPr lang="en-US" sz="1568"/>
            </a:p>
          </p:txBody>
        </p:sp>
        <p:sp>
          <p:nvSpPr>
            <p:cNvPr id="37" name="Freeform: Shape 36">
              <a:extLst>
                <a:ext uri="{FF2B5EF4-FFF2-40B4-BE49-F238E27FC236}">
                  <a16:creationId xmlns:a16="http://schemas.microsoft.com/office/drawing/2014/main" id="{2133B0C1-ABDF-4C92-AE88-6DE03CC83845}"/>
                </a:ext>
              </a:extLst>
            </p:cNvPr>
            <p:cNvSpPr/>
            <p:nvPr/>
          </p:nvSpPr>
          <p:spPr>
            <a:xfrm>
              <a:off x="6426613" y="4999336"/>
              <a:ext cx="233449" cy="149899"/>
            </a:xfrm>
            <a:custGeom>
              <a:avLst/>
              <a:gdLst>
                <a:gd name="connsiteX0" fmla="*/ 156411 w 233449"/>
                <a:gd name="connsiteY0" fmla="*/ 1843 h 149899"/>
                <a:gd name="connsiteX1" fmla="*/ 77038 w 233449"/>
                <a:gd name="connsiteY1" fmla="*/ 1843 h 149899"/>
                <a:gd name="connsiteX2" fmla="*/ 1843 w 233449"/>
                <a:gd name="connsiteY2" fmla="*/ 77038 h 149899"/>
                <a:gd name="connsiteX3" fmla="*/ 1843 w 233449"/>
                <a:gd name="connsiteY3" fmla="*/ 135769 h 149899"/>
                <a:gd name="connsiteX4" fmla="*/ 14621 w 233449"/>
                <a:gd name="connsiteY4" fmla="*/ 148548 h 149899"/>
                <a:gd name="connsiteX5" fmla="*/ 218828 w 233449"/>
                <a:gd name="connsiteY5" fmla="*/ 148548 h 149899"/>
                <a:gd name="connsiteX6" fmla="*/ 231606 w 233449"/>
                <a:gd name="connsiteY6" fmla="*/ 135769 h 149899"/>
                <a:gd name="connsiteX7" fmla="*/ 231606 w 233449"/>
                <a:gd name="connsiteY7" fmla="*/ 77038 h 149899"/>
                <a:gd name="connsiteX8" fmla="*/ 156411 w 233449"/>
                <a:gd name="connsiteY8" fmla="*/ 1843 h 149899"/>
                <a:gd name="connsiteX9" fmla="*/ 156411 w 233449"/>
                <a:gd name="connsiteY9" fmla="*/ 1843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3449" h="149899">
                  <a:moveTo>
                    <a:pt x="156411" y="1843"/>
                  </a:moveTo>
                  <a:lnTo>
                    <a:pt x="77038" y="1843"/>
                  </a:lnTo>
                  <a:cubicBezTo>
                    <a:pt x="35755" y="1843"/>
                    <a:pt x="1843" y="35755"/>
                    <a:pt x="1843" y="77038"/>
                  </a:cubicBezTo>
                  <a:lnTo>
                    <a:pt x="1843" y="135769"/>
                  </a:lnTo>
                  <a:cubicBezTo>
                    <a:pt x="1843" y="142896"/>
                    <a:pt x="7495" y="148548"/>
                    <a:pt x="14621" y="148548"/>
                  </a:cubicBezTo>
                  <a:lnTo>
                    <a:pt x="218828" y="148548"/>
                  </a:lnTo>
                  <a:cubicBezTo>
                    <a:pt x="225954" y="148548"/>
                    <a:pt x="231606" y="142896"/>
                    <a:pt x="231606" y="135769"/>
                  </a:cubicBezTo>
                  <a:lnTo>
                    <a:pt x="231606" y="77038"/>
                  </a:lnTo>
                  <a:cubicBezTo>
                    <a:pt x="231606" y="35755"/>
                    <a:pt x="197695" y="1843"/>
                    <a:pt x="156411" y="1843"/>
                  </a:cubicBezTo>
                  <a:lnTo>
                    <a:pt x="156411" y="1843"/>
                  </a:lnTo>
                  <a:close/>
                </a:path>
              </a:pathLst>
            </a:custGeom>
            <a:solidFill>
              <a:srgbClr val="FF6B6B"/>
            </a:solidFill>
            <a:ln w="9525" cap="flat">
              <a:noFill/>
              <a:prstDash val="solid"/>
              <a:miter/>
            </a:ln>
          </p:spPr>
          <p:txBody>
            <a:bodyPr rtlCol="0" anchor="ctr"/>
            <a:lstStyle/>
            <a:p>
              <a:endParaRPr lang="en-US" sz="1568"/>
            </a:p>
          </p:txBody>
        </p:sp>
        <p:sp>
          <p:nvSpPr>
            <p:cNvPr id="38" name="Freeform: Shape 37">
              <a:extLst>
                <a:ext uri="{FF2B5EF4-FFF2-40B4-BE49-F238E27FC236}">
                  <a16:creationId xmlns:a16="http://schemas.microsoft.com/office/drawing/2014/main" id="{5E57530D-FC70-441D-9216-579CD93FDAA9}"/>
                </a:ext>
              </a:extLst>
            </p:cNvPr>
            <p:cNvSpPr/>
            <p:nvPr/>
          </p:nvSpPr>
          <p:spPr>
            <a:xfrm>
              <a:off x="6426613" y="4999336"/>
              <a:ext cx="127783" cy="149899"/>
            </a:xfrm>
            <a:custGeom>
              <a:avLst/>
              <a:gdLst>
                <a:gd name="connsiteX0" fmla="*/ 52465 w 127782"/>
                <a:gd name="connsiteY0" fmla="*/ 135769 h 149899"/>
                <a:gd name="connsiteX1" fmla="*/ 52465 w 127782"/>
                <a:gd name="connsiteY1" fmla="*/ 77038 h 149899"/>
                <a:gd name="connsiteX2" fmla="*/ 127660 w 127782"/>
                <a:gd name="connsiteY2" fmla="*/ 1843 h 149899"/>
                <a:gd name="connsiteX3" fmla="*/ 77038 w 127782"/>
                <a:gd name="connsiteY3" fmla="*/ 1843 h 149899"/>
                <a:gd name="connsiteX4" fmla="*/ 1843 w 127782"/>
                <a:gd name="connsiteY4" fmla="*/ 77038 h 149899"/>
                <a:gd name="connsiteX5" fmla="*/ 1843 w 127782"/>
                <a:gd name="connsiteY5" fmla="*/ 135769 h 149899"/>
                <a:gd name="connsiteX6" fmla="*/ 14621 w 127782"/>
                <a:gd name="connsiteY6" fmla="*/ 148548 h 149899"/>
                <a:gd name="connsiteX7" fmla="*/ 65243 w 127782"/>
                <a:gd name="connsiteY7" fmla="*/ 148548 h 149899"/>
                <a:gd name="connsiteX8" fmla="*/ 52465 w 127782"/>
                <a:gd name="connsiteY8" fmla="*/ 135769 h 149899"/>
                <a:gd name="connsiteX9" fmla="*/ 52465 w 127782"/>
                <a:gd name="connsiteY9" fmla="*/ 135769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82" h="149899">
                  <a:moveTo>
                    <a:pt x="52465" y="135769"/>
                  </a:moveTo>
                  <a:lnTo>
                    <a:pt x="52465" y="77038"/>
                  </a:lnTo>
                  <a:cubicBezTo>
                    <a:pt x="52465" y="35755"/>
                    <a:pt x="86376" y="1843"/>
                    <a:pt x="127660" y="1843"/>
                  </a:cubicBezTo>
                  <a:lnTo>
                    <a:pt x="77038" y="1843"/>
                  </a:lnTo>
                  <a:cubicBezTo>
                    <a:pt x="35755" y="1843"/>
                    <a:pt x="1843" y="35755"/>
                    <a:pt x="1843" y="77038"/>
                  </a:cubicBezTo>
                  <a:lnTo>
                    <a:pt x="1843" y="135769"/>
                  </a:lnTo>
                  <a:cubicBezTo>
                    <a:pt x="1843" y="142896"/>
                    <a:pt x="7495" y="148548"/>
                    <a:pt x="14621" y="148548"/>
                  </a:cubicBezTo>
                  <a:lnTo>
                    <a:pt x="65243" y="148548"/>
                  </a:lnTo>
                  <a:cubicBezTo>
                    <a:pt x="58117" y="148548"/>
                    <a:pt x="52465" y="142896"/>
                    <a:pt x="52465" y="135769"/>
                  </a:cubicBezTo>
                  <a:lnTo>
                    <a:pt x="52465" y="135769"/>
                  </a:lnTo>
                  <a:close/>
                </a:path>
              </a:pathLst>
            </a:custGeom>
            <a:solidFill>
              <a:srgbClr val="EE5253"/>
            </a:solidFill>
            <a:ln w="9525" cap="flat">
              <a:noFill/>
              <a:prstDash val="solid"/>
              <a:miter/>
            </a:ln>
          </p:spPr>
          <p:txBody>
            <a:bodyPr rtlCol="0" anchor="ctr"/>
            <a:lstStyle/>
            <a:p>
              <a:endParaRPr lang="en-US" sz="1568"/>
            </a:p>
          </p:txBody>
        </p:sp>
        <p:sp>
          <p:nvSpPr>
            <p:cNvPr id="39" name="Freeform: Shape 38">
              <a:extLst>
                <a:ext uri="{FF2B5EF4-FFF2-40B4-BE49-F238E27FC236}">
                  <a16:creationId xmlns:a16="http://schemas.microsoft.com/office/drawing/2014/main" id="{31E3F487-1702-43A3-8D0F-6B404B0D2BAD}"/>
                </a:ext>
              </a:extLst>
            </p:cNvPr>
            <p:cNvSpPr/>
            <p:nvPr/>
          </p:nvSpPr>
          <p:spPr>
            <a:xfrm>
              <a:off x="6579707" y="5052907"/>
              <a:ext cx="41775" cy="95837"/>
            </a:xfrm>
            <a:custGeom>
              <a:avLst/>
              <a:gdLst>
                <a:gd name="connsiteX0" fmla="*/ 39686 w 41775"/>
                <a:gd name="connsiteY0" fmla="*/ 20765 h 95837"/>
                <a:gd name="connsiteX1" fmla="*/ 20765 w 41775"/>
                <a:gd name="connsiteY1" fmla="*/ 1843 h 95837"/>
                <a:gd name="connsiteX2" fmla="*/ 1843 w 41775"/>
                <a:gd name="connsiteY2" fmla="*/ 20765 h 95837"/>
                <a:gd name="connsiteX3" fmla="*/ 1843 w 41775"/>
                <a:gd name="connsiteY3" fmla="*/ 94977 h 95837"/>
                <a:gd name="connsiteX4" fmla="*/ 39932 w 41775"/>
                <a:gd name="connsiteY4" fmla="*/ 94977 h 95837"/>
                <a:gd name="connsiteX5" fmla="*/ 39932 w 41775"/>
                <a:gd name="connsiteY5" fmla="*/ 20765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775" h="95837">
                  <a:moveTo>
                    <a:pt x="39686" y="20765"/>
                  </a:moveTo>
                  <a:cubicBezTo>
                    <a:pt x="39686" y="10198"/>
                    <a:pt x="31086" y="1843"/>
                    <a:pt x="20765" y="1843"/>
                  </a:cubicBezTo>
                  <a:cubicBezTo>
                    <a:pt x="10198" y="1843"/>
                    <a:pt x="1843" y="10444"/>
                    <a:pt x="1843" y="20765"/>
                  </a:cubicBezTo>
                  <a:lnTo>
                    <a:pt x="1843" y="94977"/>
                  </a:lnTo>
                  <a:lnTo>
                    <a:pt x="39932" y="94977"/>
                  </a:lnTo>
                  <a:lnTo>
                    <a:pt x="39932" y="20765"/>
                  </a:lnTo>
                  <a:close/>
                </a:path>
              </a:pathLst>
            </a:custGeom>
            <a:solidFill>
              <a:srgbClr val="EE5253"/>
            </a:solidFill>
            <a:ln w="9525" cap="flat">
              <a:noFill/>
              <a:prstDash val="solid"/>
              <a:miter/>
            </a:ln>
          </p:spPr>
          <p:txBody>
            <a:bodyPr rtlCol="0" anchor="ctr"/>
            <a:lstStyle/>
            <a:p>
              <a:endParaRPr lang="en-US" sz="1568"/>
            </a:p>
          </p:txBody>
        </p:sp>
        <p:sp>
          <p:nvSpPr>
            <p:cNvPr id="40" name="Freeform: Shape 39">
              <a:extLst>
                <a:ext uri="{FF2B5EF4-FFF2-40B4-BE49-F238E27FC236}">
                  <a16:creationId xmlns:a16="http://schemas.microsoft.com/office/drawing/2014/main" id="{1080CB24-7E21-427B-93D2-CC37EA12B619}"/>
                </a:ext>
              </a:extLst>
            </p:cNvPr>
            <p:cNvSpPr/>
            <p:nvPr/>
          </p:nvSpPr>
          <p:spPr>
            <a:xfrm>
              <a:off x="6465440" y="5052907"/>
              <a:ext cx="39318" cy="95837"/>
            </a:xfrm>
            <a:custGeom>
              <a:avLst/>
              <a:gdLst>
                <a:gd name="connsiteX0" fmla="*/ 39686 w 39317"/>
                <a:gd name="connsiteY0" fmla="*/ 94977 h 95837"/>
                <a:gd name="connsiteX1" fmla="*/ 39686 w 39317"/>
                <a:gd name="connsiteY1" fmla="*/ 20765 h 95837"/>
                <a:gd name="connsiteX2" fmla="*/ 20765 w 39317"/>
                <a:gd name="connsiteY2" fmla="*/ 1843 h 95837"/>
                <a:gd name="connsiteX3" fmla="*/ 1843 w 39317"/>
                <a:gd name="connsiteY3" fmla="*/ 20765 h 95837"/>
                <a:gd name="connsiteX4" fmla="*/ 1843 w 39317"/>
                <a:gd name="connsiteY4" fmla="*/ 94977 h 95837"/>
                <a:gd name="connsiteX5" fmla="*/ 39686 w 39317"/>
                <a:gd name="connsiteY5" fmla="*/ 94977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17" h="95837">
                  <a:moveTo>
                    <a:pt x="39686" y="94977"/>
                  </a:moveTo>
                  <a:lnTo>
                    <a:pt x="39686" y="20765"/>
                  </a:lnTo>
                  <a:cubicBezTo>
                    <a:pt x="39686" y="10198"/>
                    <a:pt x="31086" y="1843"/>
                    <a:pt x="20765" y="1843"/>
                  </a:cubicBezTo>
                  <a:cubicBezTo>
                    <a:pt x="10198" y="1843"/>
                    <a:pt x="1843" y="10444"/>
                    <a:pt x="1843" y="20765"/>
                  </a:cubicBezTo>
                  <a:lnTo>
                    <a:pt x="1843" y="94977"/>
                  </a:lnTo>
                  <a:lnTo>
                    <a:pt x="39686" y="94977"/>
                  </a:lnTo>
                  <a:close/>
                </a:path>
              </a:pathLst>
            </a:custGeom>
            <a:solidFill>
              <a:srgbClr val="EE5253"/>
            </a:solidFill>
            <a:ln w="9525" cap="flat">
              <a:noFill/>
              <a:prstDash val="solid"/>
              <a:miter/>
            </a:ln>
          </p:spPr>
          <p:txBody>
            <a:bodyPr rtlCol="0" anchor="ctr"/>
            <a:lstStyle/>
            <a:p>
              <a:endParaRPr lang="en-US" sz="1568"/>
            </a:p>
          </p:txBody>
        </p:sp>
        <p:sp>
          <p:nvSpPr>
            <p:cNvPr id="41" name="Freeform: Shape 40">
              <a:extLst>
                <a:ext uri="{FF2B5EF4-FFF2-40B4-BE49-F238E27FC236}">
                  <a16:creationId xmlns:a16="http://schemas.microsoft.com/office/drawing/2014/main" id="{F913EC3B-4170-4401-8829-ABBB261A498B}"/>
                </a:ext>
              </a:extLst>
            </p:cNvPr>
            <p:cNvSpPr/>
            <p:nvPr/>
          </p:nvSpPr>
          <p:spPr>
            <a:xfrm>
              <a:off x="5624284" y="4858775"/>
              <a:ext cx="142527" cy="142527"/>
            </a:xfrm>
            <a:custGeom>
              <a:avLst/>
              <a:gdLst>
                <a:gd name="connsiteX0" fmla="*/ 142404 w 142527"/>
                <a:gd name="connsiteY0" fmla="*/ 72124 h 142527"/>
                <a:gd name="connsiteX1" fmla="*/ 72124 w 142527"/>
                <a:gd name="connsiteY1" fmla="*/ 142404 h 142527"/>
                <a:gd name="connsiteX2" fmla="*/ 1843 w 142527"/>
                <a:gd name="connsiteY2" fmla="*/ 72124 h 142527"/>
                <a:gd name="connsiteX3" fmla="*/ 72124 w 142527"/>
                <a:gd name="connsiteY3" fmla="*/ 1843 h 142527"/>
                <a:gd name="connsiteX4" fmla="*/ 142404 w 142527"/>
                <a:gd name="connsiteY4" fmla="*/ 72124 h 142527"/>
                <a:gd name="connsiteX5" fmla="*/ 142404 w 142527"/>
                <a:gd name="connsiteY5"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527" h="142527">
                  <a:moveTo>
                    <a:pt x="142404" y="72124"/>
                  </a:moveTo>
                  <a:cubicBezTo>
                    <a:pt x="142404" y="110950"/>
                    <a:pt x="110950" y="142404"/>
                    <a:pt x="72124" y="142404"/>
                  </a:cubicBezTo>
                  <a:cubicBezTo>
                    <a:pt x="33297" y="142404"/>
                    <a:pt x="1843" y="110950"/>
                    <a:pt x="1843" y="72124"/>
                  </a:cubicBezTo>
                  <a:cubicBezTo>
                    <a:pt x="1843" y="33297"/>
                    <a:pt x="33297" y="1843"/>
                    <a:pt x="72124" y="1843"/>
                  </a:cubicBezTo>
                  <a:cubicBezTo>
                    <a:pt x="110950" y="1843"/>
                    <a:pt x="142404" y="33543"/>
                    <a:pt x="142404" y="72124"/>
                  </a:cubicBezTo>
                  <a:lnTo>
                    <a:pt x="142404" y="72124"/>
                  </a:lnTo>
                  <a:close/>
                </a:path>
              </a:pathLst>
            </a:custGeom>
            <a:solidFill>
              <a:srgbClr val="FFCDBF"/>
            </a:solidFill>
            <a:ln w="9525" cap="flat">
              <a:noFill/>
              <a:prstDash val="solid"/>
              <a:miter/>
            </a:ln>
          </p:spPr>
          <p:txBody>
            <a:bodyPr rtlCol="0" anchor="ctr"/>
            <a:lstStyle/>
            <a:p>
              <a:endParaRPr lang="en-US" sz="1568"/>
            </a:p>
          </p:txBody>
        </p:sp>
        <p:sp>
          <p:nvSpPr>
            <p:cNvPr id="42" name="Freeform: Shape 41">
              <a:extLst>
                <a:ext uri="{FF2B5EF4-FFF2-40B4-BE49-F238E27FC236}">
                  <a16:creationId xmlns:a16="http://schemas.microsoft.com/office/drawing/2014/main" id="{DBD57991-9C55-4EB8-8961-DC991AC58E9B}"/>
                </a:ext>
              </a:extLst>
            </p:cNvPr>
            <p:cNvSpPr/>
            <p:nvPr/>
          </p:nvSpPr>
          <p:spPr>
            <a:xfrm>
              <a:off x="5579806" y="4999336"/>
              <a:ext cx="233449" cy="149899"/>
            </a:xfrm>
            <a:custGeom>
              <a:avLst/>
              <a:gdLst>
                <a:gd name="connsiteX0" fmla="*/ 156411 w 233449"/>
                <a:gd name="connsiteY0" fmla="*/ 1843 h 149899"/>
                <a:gd name="connsiteX1" fmla="*/ 77038 w 233449"/>
                <a:gd name="connsiteY1" fmla="*/ 1843 h 149899"/>
                <a:gd name="connsiteX2" fmla="*/ 1843 w 233449"/>
                <a:gd name="connsiteY2" fmla="*/ 77038 h 149899"/>
                <a:gd name="connsiteX3" fmla="*/ 1843 w 233449"/>
                <a:gd name="connsiteY3" fmla="*/ 135769 h 149899"/>
                <a:gd name="connsiteX4" fmla="*/ 14621 w 233449"/>
                <a:gd name="connsiteY4" fmla="*/ 148548 h 149899"/>
                <a:gd name="connsiteX5" fmla="*/ 218828 w 233449"/>
                <a:gd name="connsiteY5" fmla="*/ 148548 h 149899"/>
                <a:gd name="connsiteX6" fmla="*/ 231606 w 233449"/>
                <a:gd name="connsiteY6" fmla="*/ 135769 h 149899"/>
                <a:gd name="connsiteX7" fmla="*/ 231606 w 233449"/>
                <a:gd name="connsiteY7" fmla="*/ 77038 h 149899"/>
                <a:gd name="connsiteX8" fmla="*/ 156411 w 233449"/>
                <a:gd name="connsiteY8" fmla="*/ 1843 h 149899"/>
                <a:gd name="connsiteX9" fmla="*/ 156411 w 233449"/>
                <a:gd name="connsiteY9" fmla="*/ 1843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3449" h="149899">
                  <a:moveTo>
                    <a:pt x="156411" y="1843"/>
                  </a:moveTo>
                  <a:lnTo>
                    <a:pt x="77038" y="1843"/>
                  </a:lnTo>
                  <a:cubicBezTo>
                    <a:pt x="35755" y="1843"/>
                    <a:pt x="1843" y="35755"/>
                    <a:pt x="1843" y="77038"/>
                  </a:cubicBezTo>
                  <a:lnTo>
                    <a:pt x="1843" y="135769"/>
                  </a:lnTo>
                  <a:cubicBezTo>
                    <a:pt x="1843" y="142896"/>
                    <a:pt x="7495" y="148548"/>
                    <a:pt x="14621" y="148548"/>
                  </a:cubicBezTo>
                  <a:lnTo>
                    <a:pt x="218828" y="148548"/>
                  </a:lnTo>
                  <a:cubicBezTo>
                    <a:pt x="225955" y="148548"/>
                    <a:pt x="231606" y="142896"/>
                    <a:pt x="231606" y="135769"/>
                  </a:cubicBezTo>
                  <a:lnTo>
                    <a:pt x="231606" y="77038"/>
                  </a:lnTo>
                  <a:cubicBezTo>
                    <a:pt x="231606" y="35755"/>
                    <a:pt x="197695" y="1843"/>
                    <a:pt x="156411" y="1843"/>
                  </a:cubicBezTo>
                  <a:lnTo>
                    <a:pt x="156411" y="1843"/>
                  </a:lnTo>
                  <a:close/>
                </a:path>
              </a:pathLst>
            </a:custGeom>
            <a:solidFill>
              <a:srgbClr val="FF6B6B"/>
            </a:solidFill>
            <a:ln w="9525" cap="flat">
              <a:noFill/>
              <a:prstDash val="solid"/>
              <a:miter/>
            </a:ln>
          </p:spPr>
          <p:txBody>
            <a:bodyPr rtlCol="0" anchor="ctr"/>
            <a:lstStyle/>
            <a:p>
              <a:endParaRPr lang="en-US" sz="1568"/>
            </a:p>
          </p:txBody>
        </p:sp>
        <p:sp>
          <p:nvSpPr>
            <p:cNvPr id="43" name="Freeform: Shape 42">
              <a:extLst>
                <a:ext uri="{FF2B5EF4-FFF2-40B4-BE49-F238E27FC236}">
                  <a16:creationId xmlns:a16="http://schemas.microsoft.com/office/drawing/2014/main" id="{471E66EA-005F-424B-93B5-0622B568D0CE}"/>
                </a:ext>
              </a:extLst>
            </p:cNvPr>
            <p:cNvSpPr/>
            <p:nvPr/>
          </p:nvSpPr>
          <p:spPr>
            <a:xfrm>
              <a:off x="5579806" y="4999336"/>
              <a:ext cx="127783" cy="149899"/>
            </a:xfrm>
            <a:custGeom>
              <a:avLst/>
              <a:gdLst>
                <a:gd name="connsiteX0" fmla="*/ 52465 w 127782"/>
                <a:gd name="connsiteY0" fmla="*/ 135769 h 149899"/>
                <a:gd name="connsiteX1" fmla="*/ 52465 w 127782"/>
                <a:gd name="connsiteY1" fmla="*/ 77038 h 149899"/>
                <a:gd name="connsiteX2" fmla="*/ 127660 w 127782"/>
                <a:gd name="connsiteY2" fmla="*/ 1843 h 149899"/>
                <a:gd name="connsiteX3" fmla="*/ 77038 w 127782"/>
                <a:gd name="connsiteY3" fmla="*/ 1843 h 149899"/>
                <a:gd name="connsiteX4" fmla="*/ 1843 w 127782"/>
                <a:gd name="connsiteY4" fmla="*/ 77038 h 149899"/>
                <a:gd name="connsiteX5" fmla="*/ 1843 w 127782"/>
                <a:gd name="connsiteY5" fmla="*/ 135769 h 149899"/>
                <a:gd name="connsiteX6" fmla="*/ 14621 w 127782"/>
                <a:gd name="connsiteY6" fmla="*/ 148548 h 149899"/>
                <a:gd name="connsiteX7" fmla="*/ 65243 w 127782"/>
                <a:gd name="connsiteY7" fmla="*/ 148548 h 149899"/>
                <a:gd name="connsiteX8" fmla="*/ 52465 w 127782"/>
                <a:gd name="connsiteY8" fmla="*/ 135769 h 149899"/>
                <a:gd name="connsiteX9" fmla="*/ 52465 w 127782"/>
                <a:gd name="connsiteY9" fmla="*/ 135769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82" h="149899">
                  <a:moveTo>
                    <a:pt x="52465" y="135769"/>
                  </a:moveTo>
                  <a:lnTo>
                    <a:pt x="52465" y="77038"/>
                  </a:lnTo>
                  <a:cubicBezTo>
                    <a:pt x="52465" y="35755"/>
                    <a:pt x="86376" y="1843"/>
                    <a:pt x="127660" y="1843"/>
                  </a:cubicBezTo>
                  <a:lnTo>
                    <a:pt x="77038" y="1843"/>
                  </a:lnTo>
                  <a:cubicBezTo>
                    <a:pt x="35755" y="1843"/>
                    <a:pt x="1843" y="35755"/>
                    <a:pt x="1843" y="77038"/>
                  </a:cubicBezTo>
                  <a:lnTo>
                    <a:pt x="1843" y="135769"/>
                  </a:lnTo>
                  <a:cubicBezTo>
                    <a:pt x="1843" y="142896"/>
                    <a:pt x="7495" y="148548"/>
                    <a:pt x="14621" y="148548"/>
                  </a:cubicBezTo>
                  <a:lnTo>
                    <a:pt x="65243" y="148548"/>
                  </a:lnTo>
                  <a:cubicBezTo>
                    <a:pt x="58117" y="148548"/>
                    <a:pt x="52465" y="142896"/>
                    <a:pt x="52465" y="135769"/>
                  </a:cubicBezTo>
                  <a:lnTo>
                    <a:pt x="52465" y="135769"/>
                  </a:lnTo>
                  <a:close/>
                </a:path>
              </a:pathLst>
            </a:custGeom>
            <a:solidFill>
              <a:srgbClr val="EE5253"/>
            </a:solidFill>
            <a:ln w="9525" cap="flat">
              <a:noFill/>
              <a:prstDash val="solid"/>
              <a:miter/>
            </a:ln>
          </p:spPr>
          <p:txBody>
            <a:bodyPr rtlCol="0" anchor="ctr"/>
            <a:lstStyle/>
            <a:p>
              <a:endParaRPr lang="en-US" sz="1568"/>
            </a:p>
          </p:txBody>
        </p:sp>
        <p:sp>
          <p:nvSpPr>
            <p:cNvPr id="44" name="Freeform: Shape 43">
              <a:extLst>
                <a:ext uri="{FF2B5EF4-FFF2-40B4-BE49-F238E27FC236}">
                  <a16:creationId xmlns:a16="http://schemas.microsoft.com/office/drawing/2014/main" id="{7D587754-617D-4249-ACA4-14D376C22E14}"/>
                </a:ext>
              </a:extLst>
            </p:cNvPr>
            <p:cNvSpPr/>
            <p:nvPr/>
          </p:nvSpPr>
          <p:spPr>
            <a:xfrm>
              <a:off x="5732900" y="5052907"/>
              <a:ext cx="41775" cy="95837"/>
            </a:xfrm>
            <a:custGeom>
              <a:avLst/>
              <a:gdLst>
                <a:gd name="connsiteX0" fmla="*/ 39686 w 41775"/>
                <a:gd name="connsiteY0" fmla="*/ 20765 h 95837"/>
                <a:gd name="connsiteX1" fmla="*/ 20765 w 41775"/>
                <a:gd name="connsiteY1" fmla="*/ 1843 h 95837"/>
                <a:gd name="connsiteX2" fmla="*/ 1843 w 41775"/>
                <a:gd name="connsiteY2" fmla="*/ 20765 h 95837"/>
                <a:gd name="connsiteX3" fmla="*/ 1843 w 41775"/>
                <a:gd name="connsiteY3" fmla="*/ 94977 h 95837"/>
                <a:gd name="connsiteX4" fmla="*/ 39932 w 41775"/>
                <a:gd name="connsiteY4" fmla="*/ 94977 h 95837"/>
                <a:gd name="connsiteX5" fmla="*/ 39932 w 41775"/>
                <a:gd name="connsiteY5" fmla="*/ 20765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775" h="95837">
                  <a:moveTo>
                    <a:pt x="39686" y="20765"/>
                  </a:moveTo>
                  <a:cubicBezTo>
                    <a:pt x="39686" y="10198"/>
                    <a:pt x="31086" y="1843"/>
                    <a:pt x="20765" y="1843"/>
                  </a:cubicBezTo>
                  <a:cubicBezTo>
                    <a:pt x="10198" y="1843"/>
                    <a:pt x="1843" y="10444"/>
                    <a:pt x="1843" y="20765"/>
                  </a:cubicBezTo>
                  <a:lnTo>
                    <a:pt x="1843" y="94977"/>
                  </a:lnTo>
                  <a:lnTo>
                    <a:pt x="39932" y="94977"/>
                  </a:lnTo>
                  <a:lnTo>
                    <a:pt x="39932" y="20765"/>
                  </a:lnTo>
                  <a:close/>
                </a:path>
              </a:pathLst>
            </a:custGeom>
            <a:solidFill>
              <a:srgbClr val="EE5253"/>
            </a:solidFill>
            <a:ln w="9525" cap="flat">
              <a:noFill/>
              <a:prstDash val="solid"/>
              <a:miter/>
            </a:ln>
          </p:spPr>
          <p:txBody>
            <a:bodyPr rtlCol="0" anchor="ctr"/>
            <a:lstStyle/>
            <a:p>
              <a:endParaRPr lang="en-US" sz="1568"/>
            </a:p>
          </p:txBody>
        </p:sp>
        <p:sp>
          <p:nvSpPr>
            <p:cNvPr id="45" name="Freeform: Shape 44">
              <a:extLst>
                <a:ext uri="{FF2B5EF4-FFF2-40B4-BE49-F238E27FC236}">
                  <a16:creationId xmlns:a16="http://schemas.microsoft.com/office/drawing/2014/main" id="{02DA93A0-9E29-4319-9A3D-8686D5D3C150}"/>
                </a:ext>
              </a:extLst>
            </p:cNvPr>
            <p:cNvSpPr/>
            <p:nvPr/>
          </p:nvSpPr>
          <p:spPr>
            <a:xfrm>
              <a:off x="5618632" y="5052907"/>
              <a:ext cx="39318" cy="95837"/>
            </a:xfrm>
            <a:custGeom>
              <a:avLst/>
              <a:gdLst>
                <a:gd name="connsiteX0" fmla="*/ 39686 w 39317"/>
                <a:gd name="connsiteY0" fmla="*/ 94977 h 95837"/>
                <a:gd name="connsiteX1" fmla="*/ 39686 w 39317"/>
                <a:gd name="connsiteY1" fmla="*/ 20765 h 95837"/>
                <a:gd name="connsiteX2" fmla="*/ 20765 w 39317"/>
                <a:gd name="connsiteY2" fmla="*/ 1843 h 95837"/>
                <a:gd name="connsiteX3" fmla="*/ 1843 w 39317"/>
                <a:gd name="connsiteY3" fmla="*/ 20765 h 95837"/>
                <a:gd name="connsiteX4" fmla="*/ 1843 w 39317"/>
                <a:gd name="connsiteY4" fmla="*/ 94977 h 95837"/>
                <a:gd name="connsiteX5" fmla="*/ 39686 w 39317"/>
                <a:gd name="connsiteY5" fmla="*/ 94977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17" h="95837">
                  <a:moveTo>
                    <a:pt x="39686" y="94977"/>
                  </a:moveTo>
                  <a:lnTo>
                    <a:pt x="39686" y="20765"/>
                  </a:lnTo>
                  <a:cubicBezTo>
                    <a:pt x="39686" y="10198"/>
                    <a:pt x="31086" y="1843"/>
                    <a:pt x="20765" y="1843"/>
                  </a:cubicBezTo>
                  <a:cubicBezTo>
                    <a:pt x="10198" y="1843"/>
                    <a:pt x="1843" y="10444"/>
                    <a:pt x="1843" y="20765"/>
                  </a:cubicBezTo>
                  <a:lnTo>
                    <a:pt x="1843" y="94977"/>
                  </a:lnTo>
                  <a:lnTo>
                    <a:pt x="39686" y="94977"/>
                  </a:lnTo>
                  <a:close/>
                </a:path>
              </a:pathLst>
            </a:custGeom>
            <a:solidFill>
              <a:srgbClr val="EE5253"/>
            </a:solidFill>
            <a:ln w="9525" cap="flat">
              <a:noFill/>
              <a:prstDash val="solid"/>
              <a:miter/>
            </a:ln>
          </p:spPr>
          <p:txBody>
            <a:bodyPr rtlCol="0" anchor="ctr"/>
            <a:lstStyle/>
            <a:p>
              <a:endParaRPr lang="en-US" sz="1568"/>
            </a:p>
          </p:txBody>
        </p:sp>
        <p:sp>
          <p:nvSpPr>
            <p:cNvPr id="46" name="Freeform: Shape 45">
              <a:extLst>
                <a:ext uri="{FF2B5EF4-FFF2-40B4-BE49-F238E27FC236}">
                  <a16:creationId xmlns:a16="http://schemas.microsoft.com/office/drawing/2014/main" id="{79F29873-94CA-4EA6-9B09-95056EA3C26C}"/>
                </a:ext>
              </a:extLst>
            </p:cNvPr>
            <p:cNvSpPr/>
            <p:nvPr/>
          </p:nvSpPr>
          <p:spPr>
            <a:xfrm>
              <a:off x="6047688" y="4607387"/>
              <a:ext cx="142527" cy="142527"/>
            </a:xfrm>
            <a:custGeom>
              <a:avLst/>
              <a:gdLst>
                <a:gd name="connsiteX0" fmla="*/ 142404 w 142527"/>
                <a:gd name="connsiteY0" fmla="*/ 72124 h 142527"/>
                <a:gd name="connsiteX1" fmla="*/ 72124 w 142527"/>
                <a:gd name="connsiteY1" fmla="*/ 142404 h 142527"/>
                <a:gd name="connsiteX2" fmla="*/ 1843 w 142527"/>
                <a:gd name="connsiteY2" fmla="*/ 72124 h 142527"/>
                <a:gd name="connsiteX3" fmla="*/ 72124 w 142527"/>
                <a:gd name="connsiteY3" fmla="*/ 1843 h 142527"/>
                <a:gd name="connsiteX4" fmla="*/ 142404 w 142527"/>
                <a:gd name="connsiteY4" fmla="*/ 72124 h 142527"/>
                <a:gd name="connsiteX5" fmla="*/ 142404 w 142527"/>
                <a:gd name="connsiteY5"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527" h="142527">
                  <a:moveTo>
                    <a:pt x="142404" y="72124"/>
                  </a:moveTo>
                  <a:cubicBezTo>
                    <a:pt x="142404" y="110950"/>
                    <a:pt x="110950" y="142404"/>
                    <a:pt x="72124" y="142404"/>
                  </a:cubicBezTo>
                  <a:cubicBezTo>
                    <a:pt x="33297" y="142404"/>
                    <a:pt x="1843" y="110950"/>
                    <a:pt x="1843" y="72124"/>
                  </a:cubicBezTo>
                  <a:cubicBezTo>
                    <a:pt x="2089" y="33297"/>
                    <a:pt x="33543" y="1843"/>
                    <a:pt x="72124" y="1843"/>
                  </a:cubicBezTo>
                  <a:cubicBezTo>
                    <a:pt x="110950" y="1843"/>
                    <a:pt x="142404" y="33297"/>
                    <a:pt x="142404" y="72124"/>
                  </a:cubicBezTo>
                  <a:lnTo>
                    <a:pt x="142404" y="72124"/>
                  </a:lnTo>
                  <a:close/>
                </a:path>
              </a:pathLst>
            </a:custGeom>
            <a:solidFill>
              <a:srgbClr val="FFCDBF"/>
            </a:solidFill>
            <a:ln w="9525" cap="flat">
              <a:noFill/>
              <a:prstDash val="solid"/>
              <a:miter/>
            </a:ln>
          </p:spPr>
          <p:txBody>
            <a:bodyPr rtlCol="0" anchor="ctr"/>
            <a:lstStyle/>
            <a:p>
              <a:endParaRPr lang="en-US" sz="1568"/>
            </a:p>
          </p:txBody>
        </p:sp>
        <p:sp>
          <p:nvSpPr>
            <p:cNvPr id="47" name="Freeform: Shape 46">
              <a:extLst>
                <a:ext uri="{FF2B5EF4-FFF2-40B4-BE49-F238E27FC236}">
                  <a16:creationId xmlns:a16="http://schemas.microsoft.com/office/drawing/2014/main" id="{C6C83879-67F5-4C87-90B6-9FD812C426C2}"/>
                </a:ext>
              </a:extLst>
            </p:cNvPr>
            <p:cNvSpPr/>
            <p:nvPr/>
          </p:nvSpPr>
          <p:spPr>
            <a:xfrm>
              <a:off x="6003210" y="4747702"/>
              <a:ext cx="230992" cy="149899"/>
            </a:xfrm>
            <a:custGeom>
              <a:avLst/>
              <a:gdLst>
                <a:gd name="connsiteX0" fmla="*/ 156411 w 230992"/>
                <a:gd name="connsiteY0" fmla="*/ 1843 h 149899"/>
                <a:gd name="connsiteX1" fmla="*/ 77038 w 230992"/>
                <a:gd name="connsiteY1" fmla="*/ 1843 h 149899"/>
                <a:gd name="connsiteX2" fmla="*/ 1843 w 230992"/>
                <a:gd name="connsiteY2" fmla="*/ 77038 h 149899"/>
                <a:gd name="connsiteX3" fmla="*/ 1843 w 230992"/>
                <a:gd name="connsiteY3" fmla="*/ 135769 h 149899"/>
                <a:gd name="connsiteX4" fmla="*/ 14621 w 230992"/>
                <a:gd name="connsiteY4" fmla="*/ 148548 h 149899"/>
                <a:gd name="connsiteX5" fmla="*/ 218828 w 230992"/>
                <a:gd name="connsiteY5" fmla="*/ 148548 h 149899"/>
                <a:gd name="connsiteX6" fmla="*/ 231606 w 230992"/>
                <a:gd name="connsiteY6" fmla="*/ 135769 h 149899"/>
                <a:gd name="connsiteX7" fmla="*/ 231606 w 230992"/>
                <a:gd name="connsiteY7" fmla="*/ 77038 h 149899"/>
                <a:gd name="connsiteX8" fmla="*/ 156411 w 230992"/>
                <a:gd name="connsiteY8" fmla="*/ 1843 h 149899"/>
                <a:gd name="connsiteX9" fmla="*/ 156411 w 230992"/>
                <a:gd name="connsiteY9" fmla="*/ 1843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0992" h="149899">
                  <a:moveTo>
                    <a:pt x="156411" y="1843"/>
                  </a:moveTo>
                  <a:lnTo>
                    <a:pt x="77038" y="1843"/>
                  </a:lnTo>
                  <a:cubicBezTo>
                    <a:pt x="35755" y="1843"/>
                    <a:pt x="1843" y="35755"/>
                    <a:pt x="1843" y="77038"/>
                  </a:cubicBezTo>
                  <a:lnTo>
                    <a:pt x="1843" y="135769"/>
                  </a:lnTo>
                  <a:cubicBezTo>
                    <a:pt x="1843" y="142896"/>
                    <a:pt x="7495" y="148548"/>
                    <a:pt x="14621" y="148548"/>
                  </a:cubicBezTo>
                  <a:lnTo>
                    <a:pt x="218828" y="148548"/>
                  </a:lnTo>
                  <a:cubicBezTo>
                    <a:pt x="225955" y="148548"/>
                    <a:pt x="231606" y="142896"/>
                    <a:pt x="231606" y="135769"/>
                  </a:cubicBezTo>
                  <a:lnTo>
                    <a:pt x="231606" y="77038"/>
                  </a:lnTo>
                  <a:cubicBezTo>
                    <a:pt x="231606" y="35755"/>
                    <a:pt x="197695" y="1843"/>
                    <a:pt x="156411" y="1843"/>
                  </a:cubicBezTo>
                  <a:lnTo>
                    <a:pt x="156411" y="1843"/>
                  </a:lnTo>
                  <a:close/>
                </a:path>
              </a:pathLst>
            </a:custGeom>
            <a:solidFill>
              <a:srgbClr val="FF6B6B"/>
            </a:solidFill>
            <a:ln w="9525" cap="flat">
              <a:noFill/>
              <a:prstDash val="solid"/>
              <a:miter/>
            </a:ln>
          </p:spPr>
          <p:txBody>
            <a:bodyPr rtlCol="0" anchor="ctr"/>
            <a:lstStyle/>
            <a:p>
              <a:endParaRPr lang="en-US" sz="1568"/>
            </a:p>
          </p:txBody>
        </p:sp>
        <p:sp>
          <p:nvSpPr>
            <p:cNvPr id="48" name="Freeform: Shape 47">
              <a:extLst>
                <a:ext uri="{FF2B5EF4-FFF2-40B4-BE49-F238E27FC236}">
                  <a16:creationId xmlns:a16="http://schemas.microsoft.com/office/drawing/2014/main" id="{E18E720E-2F62-4E68-B5E1-00E8B35F454E}"/>
                </a:ext>
              </a:extLst>
            </p:cNvPr>
            <p:cNvSpPr/>
            <p:nvPr/>
          </p:nvSpPr>
          <p:spPr>
            <a:xfrm>
              <a:off x="6003210" y="4747702"/>
              <a:ext cx="127783" cy="149899"/>
            </a:xfrm>
            <a:custGeom>
              <a:avLst/>
              <a:gdLst>
                <a:gd name="connsiteX0" fmla="*/ 52465 w 127782"/>
                <a:gd name="connsiteY0" fmla="*/ 135769 h 149899"/>
                <a:gd name="connsiteX1" fmla="*/ 52465 w 127782"/>
                <a:gd name="connsiteY1" fmla="*/ 77038 h 149899"/>
                <a:gd name="connsiteX2" fmla="*/ 127660 w 127782"/>
                <a:gd name="connsiteY2" fmla="*/ 1843 h 149899"/>
                <a:gd name="connsiteX3" fmla="*/ 77038 w 127782"/>
                <a:gd name="connsiteY3" fmla="*/ 1843 h 149899"/>
                <a:gd name="connsiteX4" fmla="*/ 1843 w 127782"/>
                <a:gd name="connsiteY4" fmla="*/ 77038 h 149899"/>
                <a:gd name="connsiteX5" fmla="*/ 1843 w 127782"/>
                <a:gd name="connsiteY5" fmla="*/ 135769 h 149899"/>
                <a:gd name="connsiteX6" fmla="*/ 14621 w 127782"/>
                <a:gd name="connsiteY6" fmla="*/ 148548 h 149899"/>
                <a:gd name="connsiteX7" fmla="*/ 65243 w 127782"/>
                <a:gd name="connsiteY7" fmla="*/ 148548 h 149899"/>
                <a:gd name="connsiteX8" fmla="*/ 52465 w 127782"/>
                <a:gd name="connsiteY8" fmla="*/ 135769 h 149899"/>
                <a:gd name="connsiteX9" fmla="*/ 52465 w 127782"/>
                <a:gd name="connsiteY9" fmla="*/ 135769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82" h="149899">
                  <a:moveTo>
                    <a:pt x="52465" y="135769"/>
                  </a:moveTo>
                  <a:lnTo>
                    <a:pt x="52465" y="77038"/>
                  </a:lnTo>
                  <a:cubicBezTo>
                    <a:pt x="52465" y="35755"/>
                    <a:pt x="86376" y="1843"/>
                    <a:pt x="127660" y="1843"/>
                  </a:cubicBezTo>
                  <a:lnTo>
                    <a:pt x="77038" y="1843"/>
                  </a:lnTo>
                  <a:cubicBezTo>
                    <a:pt x="35755" y="1843"/>
                    <a:pt x="1843" y="35755"/>
                    <a:pt x="1843" y="77038"/>
                  </a:cubicBezTo>
                  <a:lnTo>
                    <a:pt x="1843" y="135769"/>
                  </a:lnTo>
                  <a:cubicBezTo>
                    <a:pt x="1843" y="142896"/>
                    <a:pt x="7495" y="148548"/>
                    <a:pt x="14621" y="148548"/>
                  </a:cubicBezTo>
                  <a:lnTo>
                    <a:pt x="65243" y="148548"/>
                  </a:lnTo>
                  <a:cubicBezTo>
                    <a:pt x="58117" y="148548"/>
                    <a:pt x="52465" y="142896"/>
                    <a:pt x="52465" y="135769"/>
                  </a:cubicBezTo>
                  <a:lnTo>
                    <a:pt x="52465" y="135769"/>
                  </a:lnTo>
                  <a:close/>
                </a:path>
              </a:pathLst>
            </a:custGeom>
            <a:solidFill>
              <a:srgbClr val="EE5253"/>
            </a:solidFill>
            <a:ln w="9525" cap="flat">
              <a:noFill/>
              <a:prstDash val="solid"/>
              <a:miter/>
            </a:ln>
          </p:spPr>
          <p:txBody>
            <a:bodyPr rtlCol="0" anchor="ctr"/>
            <a:lstStyle/>
            <a:p>
              <a:endParaRPr lang="en-US" sz="1568"/>
            </a:p>
          </p:txBody>
        </p:sp>
        <p:sp>
          <p:nvSpPr>
            <p:cNvPr id="49" name="Freeform: Shape 48">
              <a:extLst>
                <a:ext uri="{FF2B5EF4-FFF2-40B4-BE49-F238E27FC236}">
                  <a16:creationId xmlns:a16="http://schemas.microsoft.com/office/drawing/2014/main" id="{ACD4C6FC-593B-442E-9351-24C24721FE91}"/>
                </a:ext>
              </a:extLst>
            </p:cNvPr>
            <p:cNvSpPr/>
            <p:nvPr/>
          </p:nvSpPr>
          <p:spPr>
            <a:xfrm>
              <a:off x="6156303" y="4801273"/>
              <a:ext cx="39318" cy="95837"/>
            </a:xfrm>
            <a:custGeom>
              <a:avLst/>
              <a:gdLst>
                <a:gd name="connsiteX0" fmla="*/ 39686 w 39317"/>
                <a:gd name="connsiteY0" fmla="*/ 20765 h 95837"/>
                <a:gd name="connsiteX1" fmla="*/ 20765 w 39317"/>
                <a:gd name="connsiteY1" fmla="*/ 1843 h 95837"/>
                <a:gd name="connsiteX2" fmla="*/ 1843 w 39317"/>
                <a:gd name="connsiteY2" fmla="*/ 20765 h 95837"/>
                <a:gd name="connsiteX3" fmla="*/ 1843 w 39317"/>
                <a:gd name="connsiteY3" fmla="*/ 94977 h 95837"/>
                <a:gd name="connsiteX4" fmla="*/ 39686 w 39317"/>
                <a:gd name="connsiteY4" fmla="*/ 94977 h 95837"/>
                <a:gd name="connsiteX5" fmla="*/ 39686 w 39317"/>
                <a:gd name="connsiteY5" fmla="*/ 20765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17" h="95837">
                  <a:moveTo>
                    <a:pt x="39686" y="20765"/>
                  </a:moveTo>
                  <a:cubicBezTo>
                    <a:pt x="39686" y="10198"/>
                    <a:pt x="31086" y="1843"/>
                    <a:pt x="20765" y="1843"/>
                  </a:cubicBezTo>
                  <a:cubicBezTo>
                    <a:pt x="10198" y="1843"/>
                    <a:pt x="1843" y="10444"/>
                    <a:pt x="1843" y="20765"/>
                  </a:cubicBezTo>
                  <a:lnTo>
                    <a:pt x="1843" y="94977"/>
                  </a:lnTo>
                  <a:lnTo>
                    <a:pt x="39686" y="94977"/>
                  </a:lnTo>
                  <a:lnTo>
                    <a:pt x="39686" y="20765"/>
                  </a:lnTo>
                  <a:close/>
                </a:path>
              </a:pathLst>
            </a:custGeom>
            <a:solidFill>
              <a:srgbClr val="EE5253"/>
            </a:solidFill>
            <a:ln w="9525" cap="flat">
              <a:noFill/>
              <a:prstDash val="solid"/>
              <a:miter/>
            </a:ln>
          </p:spPr>
          <p:txBody>
            <a:bodyPr rtlCol="0" anchor="ctr"/>
            <a:lstStyle/>
            <a:p>
              <a:endParaRPr lang="en-US" sz="1568"/>
            </a:p>
          </p:txBody>
        </p:sp>
        <p:sp>
          <p:nvSpPr>
            <p:cNvPr id="50" name="Freeform: Shape 49">
              <a:extLst>
                <a:ext uri="{FF2B5EF4-FFF2-40B4-BE49-F238E27FC236}">
                  <a16:creationId xmlns:a16="http://schemas.microsoft.com/office/drawing/2014/main" id="{5AA5944B-C4AD-4625-8136-74FDAD3BBFCD}"/>
                </a:ext>
              </a:extLst>
            </p:cNvPr>
            <p:cNvSpPr/>
            <p:nvPr/>
          </p:nvSpPr>
          <p:spPr>
            <a:xfrm>
              <a:off x="6042036" y="4801273"/>
              <a:ext cx="39318" cy="95837"/>
            </a:xfrm>
            <a:custGeom>
              <a:avLst/>
              <a:gdLst>
                <a:gd name="connsiteX0" fmla="*/ 39686 w 39317"/>
                <a:gd name="connsiteY0" fmla="*/ 94977 h 95837"/>
                <a:gd name="connsiteX1" fmla="*/ 39686 w 39317"/>
                <a:gd name="connsiteY1" fmla="*/ 20765 h 95837"/>
                <a:gd name="connsiteX2" fmla="*/ 20765 w 39317"/>
                <a:gd name="connsiteY2" fmla="*/ 1843 h 95837"/>
                <a:gd name="connsiteX3" fmla="*/ 1843 w 39317"/>
                <a:gd name="connsiteY3" fmla="*/ 20765 h 95837"/>
                <a:gd name="connsiteX4" fmla="*/ 1843 w 39317"/>
                <a:gd name="connsiteY4" fmla="*/ 94977 h 95837"/>
                <a:gd name="connsiteX5" fmla="*/ 39686 w 39317"/>
                <a:gd name="connsiteY5" fmla="*/ 94977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17" h="95837">
                  <a:moveTo>
                    <a:pt x="39686" y="94977"/>
                  </a:moveTo>
                  <a:lnTo>
                    <a:pt x="39686" y="20765"/>
                  </a:lnTo>
                  <a:cubicBezTo>
                    <a:pt x="39686" y="10198"/>
                    <a:pt x="31086" y="1843"/>
                    <a:pt x="20765" y="1843"/>
                  </a:cubicBezTo>
                  <a:cubicBezTo>
                    <a:pt x="10198" y="1843"/>
                    <a:pt x="1843" y="10444"/>
                    <a:pt x="1843" y="20765"/>
                  </a:cubicBezTo>
                  <a:lnTo>
                    <a:pt x="1843" y="94977"/>
                  </a:lnTo>
                  <a:lnTo>
                    <a:pt x="39686" y="94977"/>
                  </a:lnTo>
                  <a:close/>
                </a:path>
              </a:pathLst>
            </a:custGeom>
            <a:solidFill>
              <a:srgbClr val="EE5253"/>
            </a:solidFill>
            <a:ln w="9525" cap="flat">
              <a:noFill/>
              <a:prstDash val="solid"/>
              <a:miter/>
            </a:ln>
          </p:spPr>
          <p:txBody>
            <a:bodyPr rtlCol="0" anchor="ctr"/>
            <a:lstStyle/>
            <a:p>
              <a:endParaRPr lang="en-US" sz="1568"/>
            </a:p>
          </p:txBody>
        </p:sp>
        <p:sp>
          <p:nvSpPr>
            <p:cNvPr id="51" name="Freeform: Shape 50">
              <a:extLst>
                <a:ext uri="{FF2B5EF4-FFF2-40B4-BE49-F238E27FC236}">
                  <a16:creationId xmlns:a16="http://schemas.microsoft.com/office/drawing/2014/main" id="{E3794AA1-ACB3-4378-9B25-0E6DA4F28AEB}"/>
                </a:ext>
              </a:extLst>
            </p:cNvPr>
            <p:cNvSpPr/>
            <p:nvPr/>
          </p:nvSpPr>
          <p:spPr>
            <a:xfrm>
              <a:off x="6047688" y="5578291"/>
              <a:ext cx="142527" cy="142527"/>
            </a:xfrm>
            <a:custGeom>
              <a:avLst/>
              <a:gdLst>
                <a:gd name="connsiteX0" fmla="*/ 142404 w 142527"/>
                <a:gd name="connsiteY0" fmla="*/ 72124 h 142527"/>
                <a:gd name="connsiteX1" fmla="*/ 72124 w 142527"/>
                <a:gd name="connsiteY1" fmla="*/ 142404 h 142527"/>
                <a:gd name="connsiteX2" fmla="*/ 1843 w 142527"/>
                <a:gd name="connsiteY2" fmla="*/ 72124 h 142527"/>
                <a:gd name="connsiteX3" fmla="*/ 72124 w 142527"/>
                <a:gd name="connsiteY3" fmla="*/ 1843 h 142527"/>
                <a:gd name="connsiteX4" fmla="*/ 142404 w 142527"/>
                <a:gd name="connsiteY4" fmla="*/ 72124 h 142527"/>
                <a:gd name="connsiteX5" fmla="*/ 142404 w 142527"/>
                <a:gd name="connsiteY5"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527" h="142527">
                  <a:moveTo>
                    <a:pt x="142404" y="72124"/>
                  </a:moveTo>
                  <a:cubicBezTo>
                    <a:pt x="142404" y="110950"/>
                    <a:pt x="110950" y="142404"/>
                    <a:pt x="72124" y="142404"/>
                  </a:cubicBezTo>
                  <a:cubicBezTo>
                    <a:pt x="33297" y="142404"/>
                    <a:pt x="1843" y="110950"/>
                    <a:pt x="1843" y="72124"/>
                  </a:cubicBezTo>
                  <a:cubicBezTo>
                    <a:pt x="1843" y="33297"/>
                    <a:pt x="33297" y="1843"/>
                    <a:pt x="72124" y="1843"/>
                  </a:cubicBezTo>
                  <a:cubicBezTo>
                    <a:pt x="110950" y="2089"/>
                    <a:pt x="142404" y="33297"/>
                    <a:pt x="142404" y="72124"/>
                  </a:cubicBezTo>
                  <a:lnTo>
                    <a:pt x="142404" y="72124"/>
                  </a:lnTo>
                  <a:close/>
                </a:path>
              </a:pathLst>
            </a:custGeom>
            <a:solidFill>
              <a:srgbClr val="FFCDBF"/>
            </a:solidFill>
            <a:ln w="9525" cap="flat">
              <a:noFill/>
              <a:prstDash val="solid"/>
              <a:miter/>
            </a:ln>
          </p:spPr>
          <p:txBody>
            <a:bodyPr rtlCol="0" anchor="ctr"/>
            <a:lstStyle/>
            <a:p>
              <a:endParaRPr lang="en-US" sz="1568"/>
            </a:p>
          </p:txBody>
        </p:sp>
        <p:sp>
          <p:nvSpPr>
            <p:cNvPr id="52" name="Freeform: Shape 51">
              <a:extLst>
                <a:ext uri="{FF2B5EF4-FFF2-40B4-BE49-F238E27FC236}">
                  <a16:creationId xmlns:a16="http://schemas.microsoft.com/office/drawing/2014/main" id="{FCADCE88-CDF0-479E-8FE0-86FA1505CC01}"/>
                </a:ext>
              </a:extLst>
            </p:cNvPr>
            <p:cNvSpPr/>
            <p:nvPr/>
          </p:nvSpPr>
          <p:spPr>
            <a:xfrm>
              <a:off x="6047688" y="5066422"/>
              <a:ext cx="110581" cy="142527"/>
            </a:xfrm>
            <a:custGeom>
              <a:avLst/>
              <a:gdLst>
                <a:gd name="connsiteX0" fmla="*/ 78021 w 110581"/>
                <a:gd name="connsiteY0" fmla="*/ 72124 h 142527"/>
                <a:gd name="connsiteX1" fmla="*/ 110213 w 110581"/>
                <a:gd name="connsiteY1" fmla="*/ 13147 h 142527"/>
                <a:gd name="connsiteX2" fmla="*/ 72124 w 110581"/>
                <a:gd name="connsiteY2" fmla="*/ 1843 h 142527"/>
                <a:gd name="connsiteX3" fmla="*/ 1843 w 110581"/>
                <a:gd name="connsiteY3" fmla="*/ 72124 h 142527"/>
                <a:gd name="connsiteX4" fmla="*/ 72124 w 110581"/>
                <a:gd name="connsiteY4" fmla="*/ 142404 h 142527"/>
                <a:gd name="connsiteX5" fmla="*/ 110213 w 110581"/>
                <a:gd name="connsiteY5" fmla="*/ 131100 h 142527"/>
                <a:gd name="connsiteX6" fmla="*/ 78021 w 110581"/>
                <a:gd name="connsiteY6" fmla="*/ 72124 h 142527"/>
                <a:gd name="connsiteX7" fmla="*/ 78021 w 110581"/>
                <a:gd name="connsiteY7"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581" h="142527">
                  <a:moveTo>
                    <a:pt x="78021" y="72124"/>
                  </a:moveTo>
                  <a:cubicBezTo>
                    <a:pt x="78021" y="47304"/>
                    <a:pt x="90800" y="25679"/>
                    <a:pt x="110213" y="13147"/>
                  </a:cubicBezTo>
                  <a:cubicBezTo>
                    <a:pt x="99155" y="6021"/>
                    <a:pt x="86131" y="1843"/>
                    <a:pt x="72124" y="1843"/>
                  </a:cubicBezTo>
                  <a:cubicBezTo>
                    <a:pt x="33297" y="1843"/>
                    <a:pt x="1843" y="33297"/>
                    <a:pt x="1843" y="72124"/>
                  </a:cubicBezTo>
                  <a:cubicBezTo>
                    <a:pt x="1843" y="110950"/>
                    <a:pt x="33297" y="142404"/>
                    <a:pt x="72124" y="142404"/>
                  </a:cubicBezTo>
                  <a:cubicBezTo>
                    <a:pt x="86131" y="142404"/>
                    <a:pt x="99155" y="138227"/>
                    <a:pt x="110213" y="131100"/>
                  </a:cubicBezTo>
                  <a:cubicBezTo>
                    <a:pt x="90800" y="118568"/>
                    <a:pt x="78021" y="96943"/>
                    <a:pt x="78021" y="72124"/>
                  </a:cubicBezTo>
                  <a:lnTo>
                    <a:pt x="78021" y="72124"/>
                  </a:lnTo>
                  <a:close/>
                </a:path>
              </a:pathLst>
            </a:custGeom>
            <a:solidFill>
              <a:srgbClr val="FFBEAB"/>
            </a:solidFill>
            <a:ln w="9525" cap="flat">
              <a:noFill/>
              <a:prstDash val="solid"/>
              <a:miter/>
            </a:ln>
          </p:spPr>
          <p:txBody>
            <a:bodyPr rtlCol="0" anchor="ctr"/>
            <a:lstStyle/>
            <a:p>
              <a:endParaRPr lang="en-US" sz="1568"/>
            </a:p>
          </p:txBody>
        </p:sp>
        <p:sp>
          <p:nvSpPr>
            <p:cNvPr id="53" name="Freeform: Shape 52">
              <a:extLst>
                <a:ext uri="{FF2B5EF4-FFF2-40B4-BE49-F238E27FC236}">
                  <a16:creationId xmlns:a16="http://schemas.microsoft.com/office/drawing/2014/main" id="{8D435128-C1E2-4780-A7BB-59B50B126DE9}"/>
                </a:ext>
              </a:extLst>
            </p:cNvPr>
            <p:cNvSpPr/>
            <p:nvPr/>
          </p:nvSpPr>
          <p:spPr>
            <a:xfrm>
              <a:off x="6471092" y="5300609"/>
              <a:ext cx="110581" cy="142527"/>
            </a:xfrm>
            <a:custGeom>
              <a:avLst/>
              <a:gdLst>
                <a:gd name="connsiteX0" fmla="*/ 78021 w 110581"/>
                <a:gd name="connsiteY0" fmla="*/ 72124 h 142527"/>
                <a:gd name="connsiteX1" fmla="*/ 110213 w 110581"/>
                <a:gd name="connsiteY1" fmla="*/ 13147 h 142527"/>
                <a:gd name="connsiteX2" fmla="*/ 72124 w 110581"/>
                <a:gd name="connsiteY2" fmla="*/ 1843 h 142527"/>
                <a:gd name="connsiteX3" fmla="*/ 1843 w 110581"/>
                <a:gd name="connsiteY3" fmla="*/ 72124 h 142527"/>
                <a:gd name="connsiteX4" fmla="*/ 72124 w 110581"/>
                <a:gd name="connsiteY4" fmla="*/ 142158 h 142527"/>
                <a:gd name="connsiteX5" fmla="*/ 110213 w 110581"/>
                <a:gd name="connsiteY5" fmla="*/ 130855 h 142527"/>
                <a:gd name="connsiteX6" fmla="*/ 78021 w 110581"/>
                <a:gd name="connsiteY6" fmla="*/ 72124 h 142527"/>
                <a:gd name="connsiteX7" fmla="*/ 78021 w 110581"/>
                <a:gd name="connsiteY7"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581" h="142527">
                  <a:moveTo>
                    <a:pt x="78021" y="72124"/>
                  </a:moveTo>
                  <a:cubicBezTo>
                    <a:pt x="78021" y="47304"/>
                    <a:pt x="90800" y="25679"/>
                    <a:pt x="110213" y="13147"/>
                  </a:cubicBezTo>
                  <a:cubicBezTo>
                    <a:pt x="99155" y="6020"/>
                    <a:pt x="86131" y="1843"/>
                    <a:pt x="72124" y="1843"/>
                  </a:cubicBezTo>
                  <a:cubicBezTo>
                    <a:pt x="33297" y="1843"/>
                    <a:pt x="1843" y="33297"/>
                    <a:pt x="1843" y="72124"/>
                  </a:cubicBezTo>
                  <a:cubicBezTo>
                    <a:pt x="1843" y="110950"/>
                    <a:pt x="33297" y="142158"/>
                    <a:pt x="72124" y="142158"/>
                  </a:cubicBezTo>
                  <a:cubicBezTo>
                    <a:pt x="86131" y="142158"/>
                    <a:pt x="99155" y="137981"/>
                    <a:pt x="110213" y="130855"/>
                  </a:cubicBezTo>
                  <a:cubicBezTo>
                    <a:pt x="90800" y="118568"/>
                    <a:pt x="78021" y="96943"/>
                    <a:pt x="78021" y="72124"/>
                  </a:cubicBezTo>
                  <a:lnTo>
                    <a:pt x="78021" y="72124"/>
                  </a:lnTo>
                  <a:close/>
                </a:path>
              </a:pathLst>
            </a:custGeom>
            <a:solidFill>
              <a:srgbClr val="FFBEAB"/>
            </a:solidFill>
            <a:ln w="9525" cap="flat">
              <a:noFill/>
              <a:prstDash val="solid"/>
              <a:miter/>
            </a:ln>
          </p:spPr>
          <p:txBody>
            <a:bodyPr rtlCol="0" anchor="ctr"/>
            <a:lstStyle/>
            <a:p>
              <a:endParaRPr lang="en-US" sz="1568"/>
            </a:p>
          </p:txBody>
        </p:sp>
        <p:sp>
          <p:nvSpPr>
            <p:cNvPr id="54" name="Freeform: Shape 53">
              <a:extLst>
                <a:ext uri="{FF2B5EF4-FFF2-40B4-BE49-F238E27FC236}">
                  <a16:creationId xmlns:a16="http://schemas.microsoft.com/office/drawing/2014/main" id="{46B7F081-B705-418D-A5EE-8D9059AFC049}"/>
                </a:ext>
              </a:extLst>
            </p:cNvPr>
            <p:cNvSpPr/>
            <p:nvPr/>
          </p:nvSpPr>
          <p:spPr>
            <a:xfrm>
              <a:off x="5624530" y="5300609"/>
              <a:ext cx="110581" cy="142527"/>
            </a:xfrm>
            <a:custGeom>
              <a:avLst/>
              <a:gdLst>
                <a:gd name="connsiteX0" fmla="*/ 78021 w 110581"/>
                <a:gd name="connsiteY0" fmla="*/ 72124 h 142527"/>
                <a:gd name="connsiteX1" fmla="*/ 110213 w 110581"/>
                <a:gd name="connsiteY1" fmla="*/ 13147 h 142527"/>
                <a:gd name="connsiteX2" fmla="*/ 72124 w 110581"/>
                <a:gd name="connsiteY2" fmla="*/ 1843 h 142527"/>
                <a:gd name="connsiteX3" fmla="*/ 1843 w 110581"/>
                <a:gd name="connsiteY3" fmla="*/ 72124 h 142527"/>
                <a:gd name="connsiteX4" fmla="*/ 72124 w 110581"/>
                <a:gd name="connsiteY4" fmla="*/ 142158 h 142527"/>
                <a:gd name="connsiteX5" fmla="*/ 110213 w 110581"/>
                <a:gd name="connsiteY5" fmla="*/ 130855 h 142527"/>
                <a:gd name="connsiteX6" fmla="*/ 78021 w 110581"/>
                <a:gd name="connsiteY6" fmla="*/ 72124 h 142527"/>
                <a:gd name="connsiteX7" fmla="*/ 78021 w 110581"/>
                <a:gd name="connsiteY7"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581" h="142527">
                  <a:moveTo>
                    <a:pt x="78021" y="72124"/>
                  </a:moveTo>
                  <a:cubicBezTo>
                    <a:pt x="78021" y="47304"/>
                    <a:pt x="90800" y="25679"/>
                    <a:pt x="110213" y="13147"/>
                  </a:cubicBezTo>
                  <a:cubicBezTo>
                    <a:pt x="99155" y="6020"/>
                    <a:pt x="86131" y="1843"/>
                    <a:pt x="72124" y="1843"/>
                  </a:cubicBezTo>
                  <a:cubicBezTo>
                    <a:pt x="33297" y="1843"/>
                    <a:pt x="1843" y="33297"/>
                    <a:pt x="1843" y="72124"/>
                  </a:cubicBezTo>
                  <a:cubicBezTo>
                    <a:pt x="1843" y="110950"/>
                    <a:pt x="33297" y="142158"/>
                    <a:pt x="72124" y="142158"/>
                  </a:cubicBezTo>
                  <a:cubicBezTo>
                    <a:pt x="86131" y="142158"/>
                    <a:pt x="99155" y="137981"/>
                    <a:pt x="110213" y="130855"/>
                  </a:cubicBezTo>
                  <a:cubicBezTo>
                    <a:pt x="90800" y="118568"/>
                    <a:pt x="78021" y="96943"/>
                    <a:pt x="78021" y="72124"/>
                  </a:cubicBezTo>
                  <a:lnTo>
                    <a:pt x="78021" y="72124"/>
                  </a:lnTo>
                  <a:close/>
                </a:path>
              </a:pathLst>
            </a:custGeom>
            <a:solidFill>
              <a:srgbClr val="FFBEAB"/>
            </a:solidFill>
            <a:ln w="9525" cap="flat">
              <a:noFill/>
              <a:prstDash val="solid"/>
              <a:miter/>
            </a:ln>
          </p:spPr>
          <p:txBody>
            <a:bodyPr rtlCol="0" anchor="ctr"/>
            <a:lstStyle/>
            <a:p>
              <a:endParaRPr lang="en-US" sz="1568"/>
            </a:p>
          </p:txBody>
        </p:sp>
        <p:sp>
          <p:nvSpPr>
            <p:cNvPr id="55" name="Freeform: Shape 54">
              <a:extLst>
                <a:ext uri="{FF2B5EF4-FFF2-40B4-BE49-F238E27FC236}">
                  <a16:creationId xmlns:a16="http://schemas.microsoft.com/office/drawing/2014/main" id="{809E5E15-185D-46F0-9812-AE7F39682086}"/>
                </a:ext>
              </a:extLst>
            </p:cNvPr>
            <p:cNvSpPr/>
            <p:nvPr/>
          </p:nvSpPr>
          <p:spPr>
            <a:xfrm>
              <a:off x="6471092" y="4858775"/>
              <a:ext cx="110581" cy="142527"/>
            </a:xfrm>
            <a:custGeom>
              <a:avLst/>
              <a:gdLst>
                <a:gd name="connsiteX0" fmla="*/ 78021 w 110581"/>
                <a:gd name="connsiteY0" fmla="*/ 72124 h 142527"/>
                <a:gd name="connsiteX1" fmla="*/ 110213 w 110581"/>
                <a:gd name="connsiteY1" fmla="*/ 13147 h 142527"/>
                <a:gd name="connsiteX2" fmla="*/ 72124 w 110581"/>
                <a:gd name="connsiteY2" fmla="*/ 1843 h 142527"/>
                <a:gd name="connsiteX3" fmla="*/ 1843 w 110581"/>
                <a:gd name="connsiteY3" fmla="*/ 72124 h 142527"/>
                <a:gd name="connsiteX4" fmla="*/ 72124 w 110581"/>
                <a:gd name="connsiteY4" fmla="*/ 142404 h 142527"/>
                <a:gd name="connsiteX5" fmla="*/ 110213 w 110581"/>
                <a:gd name="connsiteY5" fmla="*/ 131100 h 142527"/>
                <a:gd name="connsiteX6" fmla="*/ 78021 w 110581"/>
                <a:gd name="connsiteY6" fmla="*/ 72124 h 142527"/>
                <a:gd name="connsiteX7" fmla="*/ 78021 w 110581"/>
                <a:gd name="connsiteY7"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581" h="142527">
                  <a:moveTo>
                    <a:pt x="78021" y="72124"/>
                  </a:moveTo>
                  <a:cubicBezTo>
                    <a:pt x="78021" y="47304"/>
                    <a:pt x="90800" y="25679"/>
                    <a:pt x="110213" y="13147"/>
                  </a:cubicBezTo>
                  <a:cubicBezTo>
                    <a:pt x="99155" y="6021"/>
                    <a:pt x="86131" y="1843"/>
                    <a:pt x="72124" y="1843"/>
                  </a:cubicBezTo>
                  <a:cubicBezTo>
                    <a:pt x="33297" y="1843"/>
                    <a:pt x="1843" y="33297"/>
                    <a:pt x="1843" y="72124"/>
                  </a:cubicBezTo>
                  <a:cubicBezTo>
                    <a:pt x="1843" y="110950"/>
                    <a:pt x="33297" y="142404"/>
                    <a:pt x="72124" y="142404"/>
                  </a:cubicBezTo>
                  <a:cubicBezTo>
                    <a:pt x="86131" y="142404"/>
                    <a:pt x="99155" y="138227"/>
                    <a:pt x="110213" y="131100"/>
                  </a:cubicBezTo>
                  <a:cubicBezTo>
                    <a:pt x="90800" y="118568"/>
                    <a:pt x="78021" y="96943"/>
                    <a:pt x="78021" y="72124"/>
                  </a:cubicBezTo>
                  <a:lnTo>
                    <a:pt x="78021" y="72124"/>
                  </a:lnTo>
                  <a:close/>
                </a:path>
              </a:pathLst>
            </a:custGeom>
            <a:solidFill>
              <a:srgbClr val="FFBEAB"/>
            </a:solidFill>
            <a:ln w="9525" cap="flat">
              <a:noFill/>
              <a:prstDash val="solid"/>
              <a:miter/>
            </a:ln>
          </p:spPr>
          <p:txBody>
            <a:bodyPr rtlCol="0" anchor="ctr"/>
            <a:lstStyle/>
            <a:p>
              <a:endParaRPr lang="en-US" sz="1568"/>
            </a:p>
          </p:txBody>
        </p:sp>
        <p:sp>
          <p:nvSpPr>
            <p:cNvPr id="56" name="Freeform: Shape 55">
              <a:extLst>
                <a:ext uri="{FF2B5EF4-FFF2-40B4-BE49-F238E27FC236}">
                  <a16:creationId xmlns:a16="http://schemas.microsoft.com/office/drawing/2014/main" id="{FAB46D7F-CDA3-41E5-B7D9-B2669D99B6D1}"/>
                </a:ext>
              </a:extLst>
            </p:cNvPr>
            <p:cNvSpPr/>
            <p:nvPr/>
          </p:nvSpPr>
          <p:spPr>
            <a:xfrm>
              <a:off x="5624530" y="4858775"/>
              <a:ext cx="110581" cy="142527"/>
            </a:xfrm>
            <a:custGeom>
              <a:avLst/>
              <a:gdLst>
                <a:gd name="connsiteX0" fmla="*/ 78021 w 110581"/>
                <a:gd name="connsiteY0" fmla="*/ 72124 h 142527"/>
                <a:gd name="connsiteX1" fmla="*/ 110213 w 110581"/>
                <a:gd name="connsiteY1" fmla="*/ 13147 h 142527"/>
                <a:gd name="connsiteX2" fmla="*/ 72124 w 110581"/>
                <a:gd name="connsiteY2" fmla="*/ 1843 h 142527"/>
                <a:gd name="connsiteX3" fmla="*/ 1843 w 110581"/>
                <a:gd name="connsiteY3" fmla="*/ 72124 h 142527"/>
                <a:gd name="connsiteX4" fmla="*/ 72124 w 110581"/>
                <a:gd name="connsiteY4" fmla="*/ 142404 h 142527"/>
                <a:gd name="connsiteX5" fmla="*/ 110213 w 110581"/>
                <a:gd name="connsiteY5" fmla="*/ 131100 h 142527"/>
                <a:gd name="connsiteX6" fmla="*/ 78021 w 110581"/>
                <a:gd name="connsiteY6" fmla="*/ 72124 h 142527"/>
                <a:gd name="connsiteX7" fmla="*/ 78021 w 110581"/>
                <a:gd name="connsiteY7"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581" h="142527">
                  <a:moveTo>
                    <a:pt x="78021" y="72124"/>
                  </a:moveTo>
                  <a:cubicBezTo>
                    <a:pt x="78021" y="47304"/>
                    <a:pt x="90800" y="25679"/>
                    <a:pt x="110213" y="13147"/>
                  </a:cubicBezTo>
                  <a:cubicBezTo>
                    <a:pt x="99155" y="6021"/>
                    <a:pt x="86131" y="1843"/>
                    <a:pt x="72124" y="1843"/>
                  </a:cubicBezTo>
                  <a:cubicBezTo>
                    <a:pt x="33297" y="1843"/>
                    <a:pt x="1843" y="33297"/>
                    <a:pt x="1843" y="72124"/>
                  </a:cubicBezTo>
                  <a:cubicBezTo>
                    <a:pt x="1843" y="110950"/>
                    <a:pt x="33297" y="142404"/>
                    <a:pt x="72124" y="142404"/>
                  </a:cubicBezTo>
                  <a:cubicBezTo>
                    <a:pt x="86131" y="142404"/>
                    <a:pt x="99155" y="138227"/>
                    <a:pt x="110213" y="131100"/>
                  </a:cubicBezTo>
                  <a:cubicBezTo>
                    <a:pt x="90800" y="118568"/>
                    <a:pt x="78021" y="96943"/>
                    <a:pt x="78021" y="72124"/>
                  </a:cubicBezTo>
                  <a:lnTo>
                    <a:pt x="78021" y="72124"/>
                  </a:lnTo>
                  <a:close/>
                </a:path>
              </a:pathLst>
            </a:custGeom>
            <a:solidFill>
              <a:srgbClr val="FFBEAB"/>
            </a:solidFill>
            <a:ln w="9525" cap="flat">
              <a:noFill/>
              <a:prstDash val="solid"/>
              <a:miter/>
            </a:ln>
          </p:spPr>
          <p:txBody>
            <a:bodyPr rtlCol="0" anchor="ctr"/>
            <a:lstStyle/>
            <a:p>
              <a:endParaRPr lang="en-US" sz="1568"/>
            </a:p>
          </p:txBody>
        </p:sp>
        <p:sp>
          <p:nvSpPr>
            <p:cNvPr id="57" name="Freeform: Shape 56">
              <a:extLst>
                <a:ext uri="{FF2B5EF4-FFF2-40B4-BE49-F238E27FC236}">
                  <a16:creationId xmlns:a16="http://schemas.microsoft.com/office/drawing/2014/main" id="{4D8A1682-1F17-4A02-BB3A-CECCD01E7C9A}"/>
                </a:ext>
              </a:extLst>
            </p:cNvPr>
            <p:cNvSpPr/>
            <p:nvPr/>
          </p:nvSpPr>
          <p:spPr>
            <a:xfrm>
              <a:off x="6047688" y="4607387"/>
              <a:ext cx="110581" cy="142527"/>
            </a:xfrm>
            <a:custGeom>
              <a:avLst/>
              <a:gdLst>
                <a:gd name="connsiteX0" fmla="*/ 78021 w 110581"/>
                <a:gd name="connsiteY0" fmla="*/ 72124 h 142527"/>
                <a:gd name="connsiteX1" fmla="*/ 110213 w 110581"/>
                <a:gd name="connsiteY1" fmla="*/ 13147 h 142527"/>
                <a:gd name="connsiteX2" fmla="*/ 72124 w 110581"/>
                <a:gd name="connsiteY2" fmla="*/ 1843 h 142527"/>
                <a:gd name="connsiteX3" fmla="*/ 1843 w 110581"/>
                <a:gd name="connsiteY3" fmla="*/ 72124 h 142527"/>
                <a:gd name="connsiteX4" fmla="*/ 72124 w 110581"/>
                <a:gd name="connsiteY4" fmla="*/ 142404 h 142527"/>
                <a:gd name="connsiteX5" fmla="*/ 110213 w 110581"/>
                <a:gd name="connsiteY5" fmla="*/ 131100 h 142527"/>
                <a:gd name="connsiteX6" fmla="*/ 78021 w 110581"/>
                <a:gd name="connsiteY6" fmla="*/ 72124 h 142527"/>
                <a:gd name="connsiteX7" fmla="*/ 78021 w 110581"/>
                <a:gd name="connsiteY7"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581" h="142527">
                  <a:moveTo>
                    <a:pt x="78021" y="72124"/>
                  </a:moveTo>
                  <a:cubicBezTo>
                    <a:pt x="78021" y="47304"/>
                    <a:pt x="90800" y="25679"/>
                    <a:pt x="110213" y="13147"/>
                  </a:cubicBezTo>
                  <a:cubicBezTo>
                    <a:pt x="99400" y="6021"/>
                    <a:pt x="86131" y="1843"/>
                    <a:pt x="72124" y="1843"/>
                  </a:cubicBezTo>
                  <a:cubicBezTo>
                    <a:pt x="33297" y="1843"/>
                    <a:pt x="1843" y="33297"/>
                    <a:pt x="1843" y="72124"/>
                  </a:cubicBezTo>
                  <a:cubicBezTo>
                    <a:pt x="1843" y="110950"/>
                    <a:pt x="33297" y="142404"/>
                    <a:pt x="72124" y="142404"/>
                  </a:cubicBezTo>
                  <a:cubicBezTo>
                    <a:pt x="86131" y="142404"/>
                    <a:pt x="99155" y="138227"/>
                    <a:pt x="110213" y="131100"/>
                  </a:cubicBezTo>
                  <a:cubicBezTo>
                    <a:pt x="90800" y="118568"/>
                    <a:pt x="78021" y="96697"/>
                    <a:pt x="78021" y="72124"/>
                  </a:cubicBezTo>
                  <a:lnTo>
                    <a:pt x="78021" y="72124"/>
                  </a:lnTo>
                  <a:close/>
                </a:path>
              </a:pathLst>
            </a:custGeom>
            <a:solidFill>
              <a:srgbClr val="FFBEAB"/>
            </a:solidFill>
            <a:ln w="9525" cap="flat">
              <a:noFill/>
              <a:prstDash val="solid"/>
              <a:miter/>
            </a:ln>
          </p:spPr>
          <p:txBody>
            <a:bodyPr rtlCol="0" anchor="ctr"/>
            <a:lstStyle/>
            <a:p>
              <a:endParaRPr lang="en-US" sz="1568"/>
            </a:p>
          </p:txBody>
        </p:sp>
        <p:sp>
          <p:nvSpPr>
            <p:cNvPr id="58" name="Freeform: Shape 57">
              <a:extLst>
                <a:ext uri="{FF2B5EF4-FFF2-40B4-BE49-F238E27FC236}">
                  <a16:creationId xmlns:a16="http://schemas.microsoft.com/office/drawing/2014/main" id="{C0EDF92F-6105-4CAD-92B0-FF777D5D2980}"/>
                </a:ext>
              </a:extLst>
            </p:cNvPr>
            <p:cNvSpPr/>
            <p:nvPr/>
          </p:nvSpPr>
          <p:spPr>
            <a:xfrm>
              <a:off x="6047688" y="5578291"/>
              <a:ext cx="110581" cy="142527"/>
            </a:xfrm>
            <a:custGeom>
              <a:avLst/>
              <a:gdLst>
                <a:gd name="connsiteX0" fmla="*/ 78021 w 110581"/>
                <a:gd name="connsiteY0" fmla="*/ 72124 h 142527"/>
                <a:gd name="connsiteX1" fmla="*/ 110213 w 110581"/>
                <a:gd name="connsiteY1" fmla="*/ 13147 h 142527"/>
                <a:gd name="connsiteX2" fmla="*/ 72124 w 110581"/>
                <a:gd name="connsiteY2" fmla="*/ 1843 h 142527"/>
                <a:gd name="connsiteX3" fmla="*/ 1843 w 110581"/>
                <a:gd name="connsiteY3" fmla="*/ 72124 h 142527"/>
                <a:gd name="connsiteX4" fmla="*/ 72124 w 110581"/>
                <a:gd name="connsiteY4" fmla="*/ 142404 h 142527"/>
                <a:gd name="connsiteX5" fmla="*/ 110213 w 110581"/>
                <a:gd name="connsiteY5" fmla="*/ 131100 h 142527"/>
                <a:gd name="connsiteX6" fmla="*/ 78021 w 110581"/>
                <a:gd name="connsiteY6" fmla="*/ 72124 h 142527"/>
                <a:gd name="connsiteX7" fmla="*/ 78021 w 110581"/>
                <a:gd name="connsiteY7"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581" h="142527">
                  <a:moveTo>
                    <a:pt x="78021" y="72124"/>
                  </a:moveTo>
                  <a:cubicBezTo>
                    <a:pt x="78021" y="47304"/>
                    <a:pt x="90800" y="25679"/>
                    <a:pt x="110213" y="13147"/>
                  </a:cubicBezTo>
                  <a:cubicBezTo>
                    <a:pt x="99155" y="6020"/>
                    <a:pt x="86131" y="1843"/>
                    <a:pt x="72124" y="1843"/>
                  </a:cubicBezTo>
                  <a:cubicBezTo>
                    <a:pt x="33297" y="1843"/>
                    <a:pt x="1843" y="33297"/>
                    <a:pt x="1843" y="72124"/>
                  </a:cubicBezTo>
                  <a:cubicBezTo>
                    <a:pt x="1843" y="110950"/>
                    <a:pt x="33297" y="142404"/>
                    <a:pt x="72124" y="142404"/>
                  </a:cubicBezTo>
                  <a:cubicBezTo>
                    <a:pt x="86131" y="142404"/>
                    <a:pt x="99155" y="138227"/>
                    <a:pt x="110213" y="131100"/>
                  </a:cubicBezTo>
                  <a:cubicBezTo>
                    <a:pt x="90800" y="118568"/>
                    <a:pt x="78021" y="96943"/>
                    <a:pt x="78021" y="72124"/>
                  </a:cubicBezTo>
                  <a:lnTo>
                    <a:pt x="78021" y="72124"/>
                  </a:lnTo>
                  <a:close/>
                </a:path>
              </a:pathLst>
            </a:custGeom>
            <a:solidFill>
              <a:srgbClr val="FFBEAB"/>
            </a:solidFill>
            <a:ln w="9525" cap="flat">
              <a:noFill/>
              <a:prstDash val="solid"/>
              <a:miter/>
            </a:ln>
          </p:spPr>
          <p:txBody>
            <a:bodyPr rtlCol="0" anchor="ctr"/>
            <a:lstStyle/>
            <a:p>
              <a:endParaRPr lang="en-US" sz="1568"/>
            </a:p>
          </p:txBody>
        </p:sp>
        <p:sp>
          <p:nvSpPr>
            <p:cNvPr id="59" name="Freeform: Shape 58">
              <a:extLst>
                <a:ext uri="{FF2B5EF4-FFF2-40B4-BE49-F238E27FC236}">
                  <a16:creationId xmlns:a16="http://schemas.microsoft.com/office/drawing/2014/main" id="{1A0DD798-E79D-4F9C-86F9-5F7EA99299A8}"/>
                </a:ext>
              </a:extLst>
            </p:cNvPr>
            <p:cNvSpPr/>
            <p:nvPr/>
          </p:nvSpPr>
          <p:spPr>
            <a:xfrm>
              <a:off x="6003210" y="5718852"/>
              <a:ext cx="230992" cy="149899"/>
            </a:xfrm>
            <a:custGeom>
              <a:avLst/>
              <a:gdLst>
                <a:gd name="connsiteX0" fmla="*/ 156411 w 230992"/>
                <a:gd name="connsiteY0" fmla="*/ 1843 h 149899"/>
                <a:gd name="connsiteX1" fmla="*/ 77038 w 230992"/>
                <a:gd name="connsiteY1" fmla="*/ 1843 h 149899"/>
                <a:gd name="connsiteX2" fmla="*/ 1843 w 230992"/>
                <a:gd name="connsiteY2" fmla="*/ 77038 h 149899"/>
                <a:gd name="connsiteX3" fmla="*/ 1843 w 230992"/>
                <a:gd name="connsiteY3" fmla="*/ 135769 h 149899"/>
                <a:gd name="connsiteX4" fmla="*/ 14621 w 230992"/>
                <a:gd name="connsiteY4" fmla="*/ 148548 h 149899"/>
                <a:gd name="connsiteX5" fmla="*/ 218828 w 230992"/>
                <a:gd name="connsiteY5" fmla="*/ 148548 h 149899"/>
                <a:gd name="connsiteX6" fmla="*/ 231606 w 230992"/>
                <a:gd name="connsiteY6" fmla="*/ 135769 h 149899"/>
                <a:gd name="connsiteX7" fmla="*/ 231606 w 230992"/>
                <a:gd name="connsiteY7" fmla="*/ 77038 h 149899"/>
                <a:gd name="connsiteX8" fmla="*/ 156411 w 230992"/>
                <a:gd name="connsiteY8" fmla="*/ 1843 h 149899"/>
                <a:gd name="connsiteX9" fmla="*/ 156411 w 230992"/>
                <a:gd name="connsiteY9" fmla="*/ 1843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0992" h="149899">
                  <a:moveTo>
                    <a:pt x="156411" y="1843"/>
                  </a:moveTo>
                  <a:lnTo>
                    <a:pt x="77038" y="1843"/>
                  </a:lnTo>
                  <a:cubicBezTo>
                    <a:pt x="35755" y="1843"/>
                    <a:pt x="1843" y="35755"/>
                    <a:pt x="1843" y="77038"/>
                  </a:cubicBezTo>
                  <a:lnTo>
                    <a:pt x="1843" y="135769"/>
                  </a:lnTo>
                  <a:cubicBezTo>
                    <a:pt x="1843" y="142896"/>
                    <a:pt x="7495" y="148548"/>
                    <a:pt x="14621" y="148548"/>
                  </a:cubicBezTo>
                  <a:lnTo>
                    <a:pt x="218828" y="148548"/>
                  </a:lnTo>
                  <a:cubicBezTo>
                    <a:pt x="225955" y="148548"/>
                    <a:pt x="231606" y="142896"/>
                    <a:pt x="231606" y="135769"/>
                  </a:cubicBezTo>
                  <a:lnTo>
                    <a:pt x="231606" y="77038"/>
                  </a:lnTo>
                  <a:cubicBezTo>
                    <a:pt x="231606" y="35509"/>
                    <a:pt x="197695" y="1843"/>
                    <a:pt x="156411" y="1843"/>
                  </a:cubicBezTo>
                  <a:lnTo>
                    <a:pt x="156411" y="1843"/>
                  </a:lnTo>
                  <a:close/>
                </a:path>
              </a:pathLst>
            </a:custGeom>
            <a:solidFill>
              <a:srgbClr val="FF6B6B"/>
            </a:solidFill>
            <a:ln w="9525" cap="flat">
              <a:noFill/>
              <a:prstDash val="solid"/>
              <a:miter/>
            </a:ln>
          </p:spPr>
          <p:txBody>
            <a:bodyPr rtlCol="0" anchor="ctr"/>
            <a:lstStyle/>
            <a:p>
              <a:endParaRPr lang="en-US" sz="1568"/>
            </a:p>
          </p:txBody>
        </p:sp>
        <p:sp>
          <p:nvSpPr>
            <p:cNvPr id="60" name="Freeform: Shape 59">
              <a:extLst>
                <a:ext uri="{FF2B5EF4-FFF2-40B4-BE49-F238E27FC236}">
                  <a16:creationId xmlns:a16="http://schemas.microsoft.com/office/drawing/2014/main" id="{FC1C0768-2332-487D-9912-E151960FAAAA}"/>
                </a:ext>
              </a:extLst>
            </p:cNvPr>
            <p:cNvSpPr/>
            <p:nvPr/>
          </p:nvSpPr>
          <p:spPr>
            <a:xfrm>
              <a:off x="6003210" y="5718852"/>
              <a:ext cx="127783" cy="149899"/>
            </a:xfrm>
            <a:custGeom>
              <a:avLst/>
              <a:gdLst>
                <a:gd name="connsiteX0" fmla="*/ 52465 w 127782"/>
                <a:gd name="connsiteY0" fmla="*/ 135769 h 149899"/>
                <a:gd name="connsiteX1" fmla="*/ 52465 w 127782"/>
                <a:gd name="connsiteY1" fmla="*/ 77038 h 149899"/>
                <a:gd name="connsiteX2" fmla="*/ 127660 w 127782"/>
                <a:gd name="connsiteY2" fmla="*/ 1843 h 149899"/>
                <a:gd name="connsiteX3" fmla="*/ 77038 w 127782"/>
                <a:gd name="connsiteY3" fmla="*/ 1843 h 149899"/>
                <a:gd name="connsiteX4" fmla="*/ 1843 w 127782"/>
                <a:gd name="connsiteY4" fmla="*/ 77038 h 149899"/>
                <a:gd name="connsiteX5" fmla="*/ 1843 w 127782"/>
                <a:gd name="connsiteY5" fmla="*/ 135769 h 149899"/>
                <a:gd name="connsiteX6" fmla="*/ 14621 w 127782"/>
                <a:gd name="connsiteY6" fmla="*/ 148548 h 149899"/>
                <a:gd name="connsiteX7" fmla="*/ 65243 w 127782"/>
                <a:gd name="connsiteY7" fmla="*/ 148548 h 149899"/>
                <a:gd name="connsiteX8" fmla="*/ 52465 w 127782"/>
                <a:gd name="connsiteY8" fmla="*/ 135769 h 149899"/>
                <a:gd name="connsiteX9" fmla="*/ 52465 w 127782"/>
                <a:gd name="connsiteY9" fmla="*/ 135769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82" h="149899">
                  <a:moveTo>
                    <a:pt x="52465" y="135769"/>
                  </a:moveTo>
                  <a:lnTo>
                    <a:pt x="52465" y="77038"/>
                  </a:lnTo>
                  <a:cubicBezTo>
                    <a:pt x="52465" y="35755"/>
                    <a:pt x="86376" y="1843"/>
                    <a:pt x="127660" y="1843"/>
                  </a:cubicBezTo>
                  <a:lnTo>
                    <a:pt x="77038" y="1843"/>
                  </a:lnTo>
                  <a:cubicBezTo>
                    <a:pt x="35755" y="1843"/>
                    <a:pt x="1843" y="35755"/>
                    <a:pt x="1843" y="77038"/>
                  </a:cubicBezTo>
                  <a:lnTo>
                    <a:pt x="1843" y="135769"/>
                  </a:lnTo>
                  <a:cubicBezTo>
                    <a:pt x="1843" y="142896"/>
                    <a:pt x="7495" y="148548"/>
                    <a:pt x="14621" y="148548"/>
                  </a:cubicBezTo>
                  <a:lnTo>
                    <a:pt x="65243" y="148548"/>
                  </a:lnTo>
                  <a:cubicBezTo>
                    <a:pt x="58117" y="148548"/>
                    <a:pt x="52465" y="142896"/>
                    <a:pt x="52465" y="135769"/>
                  </a:cubicBezTo>
                  <a:lnTo>
                    <a:pt x="52465" y="135769"/>
                  </a:lnTo>
                  <a:close/>
                </a:path>
              </a:pathLst>
            </a:custGeom>
            <a:solidFill>
              <a:srgbClr val="EE5253"/>
            </a:solidFill>
            <a:ln w="9525" cap="flat">
              <a:noFill/>
              <a:prstDash val="solid"/>
              <a:miter/>
            </a:ln>
          </p:spPr>
          <p:txBody>
            <a:bodyPr rtlCol="0" anchor="ctr"/>
            <a:lstStyle/>
            <a:p>
              <a:endParaRPr lang="en-US" sz="1568"/>
            </a:p>
          </p:txBody>
        </p:sp>
        <p:sp>
          <p:nvSpPr>
            <p:cNvPr id="61" name="Freeform: Shape 60">
              <a:extLst>
                <a:ext uri="{FF2B5EF4-FFF2-40B4-BE49-F238E27FC236}">
                  <a16:creationId xmlns:a16="http://schemas.microsoft.com/office/drawing/2014/main" id="{D4883AE5-7934-4606-8600-A71B22854481}"/>
                </a:ext>
              </a:extLst>
            </p:cNvPr>
            <p:cNvSpPr/>
            <p:nvPr/>
          </p:nvSpPr>
          <p:spPr>
            <a:xfrm>
              <a:off x="6156303" y="5772423"/>
              <a:ext cx="39318" cy="95837"/>
            </a:xfrm>
            <a:custGeom>
              <a:avLst/>
              <a:gdLst>
                <a:gd name="connsiteX0" fmla="*/ 39686 w 39317"/>
                <a:gd name="connsiteY0" fmla="*/ 20765 h 95837"/>
                <a:gd name="connsiteX1" fmla="*/ 20765 w 39317"/>
                <a:gd name="connsiteY1" fmla="*/ 1843 h 95837"/>
                <a:gd name="connsiteX2" fmla="*/ 1843 w 39317"/>
                <a:gd name="connsiteY2" fmla="*/ 20765 h 95837"/>
                <a:gd name="connsiteX3" fmla="*/ 1843 w 39317"/>
                <a:gd name="connsiteY3" fmla="*/ 94977 h 95837"/>
                <a:gd name="connsiteX4" fmla="*/ 39686 w 39317"/>
                <a:gd name="connsiteY4" fmla="*/ 94977 h 95837"/>
                <a:gd name="connsiteX5" fmla="*/ 39686 w 39317"/>
                <a:gd name="connsiteY5" fmla="*/ 20765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17" h="95837">
                  <a:moveTo>
                    <a:pt x="39686" y="20765"/>
                  </a:moveTo>
                  <a:cubicBezTo>
                    <a:pt x="39686" y="10198"/>
                    <a:pt x="31086" y="1843"/>
                    <a:pt x="20765" y="1843"/>
                  </a:cubicBezTo>
                  <a:cubicBezTo>
                    <a:pt x="10198" y="1843"/>
                    <a:pt x="1843" y="10444"/>
                    <a:pt x="1843" y="20765"/>
                  </a:cubicBezTo>
                  <a:lnTo>
                    <a:pt x="1843" y="94977"/>
                  </a:lnTo>
                  <a:lnTo>
                    <a:pt x="39686" y="94977"/>
                  </a:lnTo>
                  <a:lnTo>
                    <a:pt x="39686" y="20765"/>
                  </a:lnTo>
                  <a:close/>
                </a:path>
              </a:pathLst>
            </a:custGeom>
            <a:solidFill>
              <a:srgbClr val="EE5253"/>
            </a:solidFill>
            <a:ln w="9525" cap="flat">
              <a:noFill/>
              <a:prstDash val="solid"/>
              <a:miter/>
            </a:ln>
          </p:spPr>
          <p:txBody>
            <a:bodyPr rtlCol="0" anchor="ctr"/>
            <a:lstStyle/>
            <a:p>
              <a:endParaRPr lang="en-US" sz="1568"/>
            </a:p>
          </p:txBody>
        </p:sp>
        <p:sp>
          <p:nvSpPr>
            <p:cNvPr id="62" name="Freeform: Shape 61">
              <a:extLst>
                <a:ext uri="{FF2B5EF4-FFF2-40B4-BE49-F238E27FC236}">
                  <a16:creationId xmlns:a16="http://schemas.microsoft.com/office/drawing/2014/main" id="{0F61614B-5183-4858-8E9E-382455BA9B84}"/>
                </a:ext>
              </a:extLst>
            </p:cNvPr>
            <p:cNvSpPr/>
            <p:nvPr/>
          </p:nvSpPr>
          <p:spPr>
            <a:xfrm>
              <a:off x="6042036" y="5772423"/>
              <a:ext cx="39318" cy="95837"/>
            </a:xfrm>
            <a:custGeom>
              <a:avLst/>
              <a:gdLst>
                <a:gd name="connsiteX0" fmla="*/ 39686 w 39317"/>
                <a:gd name="connsiteY0" fmla="*/ 94977 h 95837"/>
                <a:gd name="connsiteX1" fmla="*/ 39686 w 39317"/>
                <a:gd name="connsiteY1" fmla="*/ 20765 h 95837"/>
                <a:gd name="connsiteX2" fmla="*/ 20765 w 39317"/>
                <a:gd name="connsiteY2" fmla="*/ 1843 h 95837"/>
                <a:gd name="connsiteX3" fmla="*/ 1843 w 39317"/>
                <a:gd name="connsiteY3" fmla="*/ 20765 h 95837"/>
                <a:gd name="connsiteX4" fmla="*/ 1843 w 39317"/>
                <a:gd name="connsiteY4" fmla="*/ 94977 h 95837"/>
                <a:gd name="connsiteX5" fmla="*/ 39686 w 39317"/>
                <a:gd name="connsiteY5" fmla="*/ 94977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17" h="95837">
                  <a:moveTo>
                    <a:pt x="39686" y="94977"/>
                  </a:moveTo>
                  <a:lnTo>
                    <a:pt x="39686" y="20765"/>
                  </a:lnTo>
                  <a:cubicBezTo>
                    <a:pt x="39686" y="10198"/>
                    <a:pt x="31086" y="1843"/>
                    <a:pt x="20765" y="1843"/>
                  </a:cubicBezTo>
                  <a:cubicBezTo>
                    <a:pt x="10198" y="1843"/>
                    <a:pt x="1843" y="10444"/>
                    <a:pt x="1843" y="20765"/>
                  </a:cubicBezTo>
                  <a:lnTo>
                    <a:pt x="1843" y="94977"/>
                  </a:lnTo>
                  <a:lnTo>
                    <a:pt x="39686" y="94977"/>
                  </a:lnTo>
                  <a:close/>
                </a:path>
              </a:pathLst>
            </a:custGeom>
            <a:solidFill>
              <a:srgbClr val="EE5253"/>
            </a:solidFill>
            <a:ln w="9525" cap="flat">
              <a:noFill/>
              <a:prstDash val="solid"/>
              <a:miter/>
            </a:ln>
          </p:spPr>
          <p:txBody>
            <a:bodyPr rtlCol="0" anchor="ctr"/>
            <a:lstStyle/>
            <a:p>
              <a:endParaRPr lang="en-US" sz="1568"/>
            </a:p>
          </p:txBody>
        </p:sp>
      </p:grpSp>
    </p:spTree>
    <p:custDataLst>
      <p:tags r:id="rId1"/>
    </p:custDataLst>
    <p:extLst>
      <p:ext uri="{BB962C8B-B14F-4D97-AF65-F5344CB8AC3E}">
        <p14:creationId xmlns:p14="http://schemas.microsoft.com/office/powerpoint/2010/main" val="3545239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Light Colo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0308" y="2945834"/>
            <a:ext cx="7923048" cy="1278600"/>
          </a:xfrm>
        </p:spPr>
        <p:txBody>
          <a:bodyPr anchor="b">
            <a:normAutofit/>
          </a:bodyPr>
          <a:lstStyle>
            <a:lvl1pPr algn="l">
              <a:defRPr sz="3920"/>
            </a:lvl1pPr>
          </a:lstStyle>
          <a:p>
            <a:r>
              <a:rPr lang="en-US" dirty="0"/>
              <a:t>Click to insert title</a:t>
            </a:r>
          </a:p>
        </p:txBody>
      </p:sp>
      <p:sp>
        <p:nvSpPr>
          <p:cNvPr id="3" name="Subtitle 2"/>
          <p:cNvSpPr>
            <a:spLocks noGrp="1"/>
          </p:cNvSpPr>
          <p:nvPr>
            <p:ph type="subTitle" idx="1" hasCustomPrompt="1"/>
          </p:nvPr>
        </p:nvSpPr>
        <p:spPr>
          <a:xfrm>
            <a:off x="360308" y="4475368"/>
            <a:ext cx="7923048" cy="407766"/>
          </a:xfrm>
        </p:spPr>
        <p:txBody>
          <a:bodyPr>
            <a:noAutofit/>
          </a:bodyPr>
          <a:lstStyle>
            <a:lvl1pPr marL="0" indent="0" algn="l">
              <a:buNone/>
              <a:defRPr sz="2352"/>
            </a:lvl1pPr>
            <a:lvl2pPr marL="448056" indent="0" algn="ctr">
              <a:buNone/>
              <a:defRPr sz="1960"/>
            </a:lvl2pPr>
            <a:lvl3pPr marL="896112" indent="0" algn="ctr">
              <a:buNone/>
              <a:defRPr sz="1764"/>
            </a:lvl3pPr>
            <a:lvl4pPr marL="1344168" indent="0" algn="ctr">
              <a:buNone/>
              <a:defRPr sz="1568"/>
            </a:lvl4pPr>
            <a:lvl5pPr marL="1792224" indent="0" algn="ctr">
              <a:buNone/>
              <a:defRPr sz="1568"/>
            </a:lvl5pPr>
            <a:lvl6pPr marL="2240280" indent="0" algn="ctr">
              <a:buNone/>
              <a:defRPr sz="1568"/>
            </a:lvl6pPr>
            <a:lvl7pPr marL="2688336" indent="0" algn="ctr">
              <a:buNone/>
              <a:defRPr sz="1568"/>
            </a:lvl7pPr>
            <a:lvl8pPr marL="3136392" indent="0" algn="ctr">
              <a:buNone/>
              <a:defRPr sz="1568"/>
            </a:lvl8pPr>
            <a:lvl9pPr marL="3584448" indent="0" algn="ctr">
              <a:buNone/>
              <a:defRPr sz="1568"/>
            </a:lvl9pPr>
          </a:lstStyle>
          <a:p>
            <a:r>
              <a:rPr lang="en-US" dirty="0"/>
              <a:t>Click to insert date and/or author</a:t>
            </a:r>
          </a:p>
        </p:txBody>
      </p:sp>
      <p:sp>
        <p:nvSpPr>
          <p:cNvPr id="7" name="Rectangle 6">
            <a:extLst>
              <a:ext uri="{FF2B5EF4-FFF2-40B4-BE49-F238E27FC236}">
                <a16:creationId xmlns:a16="http://schemas.microsoft.com/office/drawing/2014/main" id="{A93C2294-A5D1-4DDB-A41A-8F44F1E97ECA}"/>
              </a:ext>
            </a:extLst>
          </p:cNvPr>
          <p:cNvSpPr/>
          <p:nvPr/>
        </p:nvSpPr>
        <p:spPr>
          <a:xfrm>
            <a:off x="2342048" y="305483"/>
            <a:ext cx="6314701" cy="512804"/>
          </a:xfrm>
          <a:prstGeom prst="rect">
            <a:avLst/>
          </a:prstGeom>
        </p:spPr>
        <p:txBody>
          <a:bodyPr wrap="square">
            <a:spAutoFit/>
          </a:bodyPr>
          <a:lstStyle/>
          <a:p>
            <a:pPr algn="r" defTabSz="896112"/>
            <a:r>
              <a:rPr lang="en-US" sz="1372" b="0" dirty="0">
                <a:solidFill>
                  <a:srgbClr val="BA0C2F"/>
                </a:solidFill>
                <a:latin typeface="Gill Sans MT"/>
              </a:rPr>
              <a:t>USAID GLOBAL HEALTH SUPPLY CHAIN PROGRAM</a:t>
            </a:r>
          </a:p>
          <a:p>
            <a:pPr algn="r" defTabSz="896112">
              <a:defRPr/>
            </a:pPr>
            <a:r>
              <a:rPr lang="en-US" sz="1372" dirty="0">
                <a:solidFill>
                  <a:srgbClr val="6C6463"/>
                </a:solidFill>
                <a:latin typeface="Gill Sans MT"/>
              </a:rPr>
              <a:t>Procurement and Supply Management</a:t>
            </a:r>
          </a:p>
        </p:txBody>
      </p:sp>
      <p:pic>
        <p:nvPicPr>
          <p:cNvPr id="8" name="Picture 7" descr="A close up of a sign&#10;&#10;Description generated with very high confidence">
            <a:extLst>
              <a:ext uri="{FF2B5EF4-FFF2-40B4-BE49-F238E27FC236}">
                <a16:creationId xmlns:a16="http://schemas.microsoft.com/office/drawing/2014/main" id="{D2578C65-54AB-43C8-A66B-D902FDACEAB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1041" y="237761"/>
            <a:ext cx="2177634" cy="648250"/>
          </a:xfrm>
          <a:prstGeom prst="rect">
            <a:avLst/>
          </a:prstGeom>
        </p:spPr>
      </p:pic>
      <p:grpSp>
        <p:nvGrpSpPr>
          <p:cNvPr id="6" name="Graphic 13">
            <a:extLst>
              <a:ext uri="{FF2B5EF4-FFF2-40B4-BE49-F238E27FC236}">
                <a16:creationId xmlns:a16="http://schemas.microsoft.com/office/drawing/2014/main" id="{C793B0B2-409E-4E00-890A-8B3CE7012D81}"/>
              </a:ext>
            </a:extLst>
          </p:cNvPr>
          <p:cNvGrpSpPr/>
          <p:nvPr/>
        </p:nvGrpSpPr>
        <p:grpSpPr>
          <a:xfrm>
            <a:off x="435625" y="1855851"/>
            <a:ext cx="616099" cy="720232"/>
            <a:chOff x="5581649" y="4609230"/>
            <a:chExt cx="1076325" cy="1258170"/>
          </a:xfrm>
        </p:grpSpPr>
        <p:sp>
          <p:nvSpPr>
            <p:cNvPr id="9" name="Freeform: Shape 8">
              <a:extLst>
                <a:ext uri="{FF2B5EF4-FFF2-40B4-BE49-F238E27FC236}">
                  <a16:creationId xmlns:a16="http://schemas.microsoft.com/office/drawing/2014/main" id="{5C3C0A7F-29A4-463E-877C-D2AF546F4008}"/>
                </a:ext>
              </a:extLst>
            </p:cNvPr>
            <p:cNvSpPr/>
            <p:nvPr/>
          </p:nvSpPr>
          <p:spPr>
            <a:xfrm>
              <a:off x="6099047" y="4923650"/>
              <a:ext cx="39318" cy="98295"/>
            </a:xfrm>
            <a:custGeom>
              <a:avLst/>
              <a:gdLst>
                <a:gd name="connsiteX0" fmla="*/ 20765 w 39317"/>
                <a:gd name="connsiteY0" fmla="*/ 97434 h 98294"/>
                <a:gd name="connsiteX1" fmla="*/ 1843 w 39317"/>
                <a:gd name="connsiteY1" fmla="*/ 78513 h 98294"/>
                <a:gd name="connsiteX2" fmla="*/ 1843 w 39317"/>
                <a:gd name="connsiteY2" fmla="*/ 20765 h 98294"/>
                <a:gd name="connsiteX3" fmla="*/ 20765 w 39317"/>
                <a:gd name="connsiteY3" fmla="*/ 1843 h 98294"/>
                <a:gd name="connsiteX4" fmla="*/ 39686 w 39317"/>
                <a:gd name="connsiteY4" fmla="*/ 20765 h 98294"/>
                <a:gd name="connsiteX5" fmla="*/ 39686 w 39317"/>
                <a:gd name="connsiteY5" fmla="*/ 78513 h 98294"/>
                <a:gd name="connsiteX6" fmla="*/ 20765 w 39317"/>
                <a:gd name="connsiteY6" fmla="*/ 97434 h 98294"/>
                <a:gd name="connsiteX7" fmla="*/ 20765 w 39317"/>
                <a:gd name="connsiteY7" fmla="*/ 97434 h 98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17" h="98294">
                  <a:moveTo>
                    <a:pt x="20765" y="97434"/>
                  </a:moveTo>
                  <a:cubicBezTo>
                    <a:pt x="10198" y="97434"/>
                    <a:pt x="1843" y="88834"/>
                    <a:pt x="1843" y="78513"/>
                  </a:cubicBezTo>
                  <a:lnTo>
                    <a:pt x="1843" y="20765"/>
                  </a:lnTo>
                  <a:cubicBezTo>
                    <a:pt x="1843" y="10198"/>
                    <a:pt x="10444" y="1843"/>
                    <a:pt x="20765" y="1843"/>
                  </a:cubicBezTo>
                  <a:cubicBezTo>
                    <a:pt x="31331" y="1843"/>
                    <a:pt x="39686" y="10444"/>
                    <a:pt x="39686" y="20765"/>
                  </a:cubicBezTo>
                  <a:lnTo>
                    <a:pt x="39686" y="78513"/>
                  </a:lnTo>
                  <a:cubicBezTo>
                    <a:pt x="39932" y="88834"/>
                    <a:pt x="31331" y="97434"/>
                    <a:pt x="20765" y="97434"/>
                  </a:cubicBezTo>
                  <a:lnTo>
                    <a:pt x="20765" y="97434"/>
                  </a:lnTo>
                  <a:close/>
                </a:path>
              </a:pathLst>
            </a:custGeom>
            <a:solidFill>
              <a:srgbClr val="CCD2DB"/>
            </a:solidFill>
            <a:ln w="9525" cap="flat">
              <a:noFill/>
              <a:prstDash val="solid"/>
              <a:miter/>
            </a:ln>
          </p:spPr>
          <p:txBody>
            <a:bodyPr rtlCol="0" anchor="ctr"/>
            <a:lstStyle/>
            <a:p>
              <a:endParaRPr lang="en-US" sz="1568"/>
            </a:p>
          </p:txBody>
        </p:sp>
        <p:sp>
          <p:nvSpPr>
            <p:cNvPr id="10" name="Freeform: Shape 9">
              <a:extLst>
                <a:ext uri="{FF2B5EF4-FFF2-40B4-BE49-F238E27FC236}">
                  <a16:creationId xmlns:a16="http://schemas.microsoft.com/office/drawing/2014/main" id="{2DC4A2BB-90D8-48AB-95A6-AB926A3B6DA8}"/>
                </a:ext>
              </a:extLst>
            </p:cNvPr>
            <p:cNvSpPr/>
            <p:nvPr/>
          </p:nvSpPr>
          <p:spPr>
            <a:xfrm>
              <a:off x="6099047" y="5453949"/>
              <a:ext cx="39318" cy="98295"/>
            </a:xfrm>
            <a:custGeom>
              <a:avLst/>
              <a:gdLst>
                <a:gd name="connsiteX0" fmla="*/ 20765 w 39317"/>
                <a:gd name="connsiteY0" fmla="*/ 97434 h 98294"/>
                <a:gd name="connsiteX1" fmla="*/ 1843 w 39317"/>
                <a:gd name="connsiteY1" fmla="*/ 78513 h 98294"/>
                <a:gd name="connsiteX2" fmla="*/ 1843 w 39317"/>
                <a:gd name="connsiteY2" fmla="*/ 20765 h 98294"/>
                <a:gd name="connsiteX3" fmla="*/ 20765 w 39317"/>
                <a:gd name="connsiteY3" fmla="*/ 1843 h 98294"/>
                <a:gd name="connsiteX4" fmla="*/ 39686 w 39317"/>
                <a:gd name="connsiteY4" fmla="*/ 20765 h 98294"/>
                <a:gd name="connsiteX5" fmla="*/ 39686 w 39317"/>
                <a:gd name="connsiteY5" fmla="*/ 78513 h 98294"/>
                <a:gd name="connsiteX6" fmla="*/ 20765 w 39317"/>
                <a:gd name="connsiteY6" fmla="*/ 97434 h 98294"/>
                <a:gd name="connsiteX7" fmla="*/ 20765 w 39317"/>
                <a:gd name="connsiteY7" fmla="*/ 97434 h 98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17" h="98294">
                  <a:moveTo>
                    <a:pt x="20765" y="97434"/>
                  </a:moveTo>
                  <a:cubicBezTo>
                    <a:pt x="10198" y="97434"/>
                    <a:pt x="1843" y="88834"/>
                    <a:pt x="1843" y="78513"/>
                  </a:cubicBezTo>
                  <a:lnTo>
                    <a:pt x="1843" y="20765"/>
                  </a:lnTo>
                  <a:cubicBezTo>
                    <a:pt x="1843" y="10198"/>
                    <a:pt x="10444" y="1843"/>
                    <a:pt x="20765" y="1843"/>
                  </a:cubicBezTo>
                  <a:cubicBezTo>
                    <a:pt x="31331" y="1843"/>
                    <a:pt x="39686" y="10444"/>
                    <a:pt x="39686" y="20765"/>
                  </a:cubicBezTo>
                  <a:lnTo>
                    <a:pt x="39686" y="78513"/>
                  </a:lnTo>
                  <a:cubicBezTo>
                    <a:pt x="39932" y="88834"/>
                    <a:pt x="31331" y="97434"/>
                    <a:pt x="20765" y="97434"/>
                  </a:cubicBezTo>
                  <a:lnTo>
                    <a:pt x="20765" y="97434"/>
                  </a:lnTo>
                  <a:close/>
                </a:path>
              </a:pathLst>
            </a:custGeom>
            <a:solidFill>
              <a:srgbClr val="CCD2DB"/>
            </a:solidFill>
            <a:ln w="9525" cap="flat">
              <a:noFill/>
              <a:prstDash val="solid"/>
              <a:miter/>
            </a:ln>
          </p:spPr>
          <p:txBody>
            <a:bodyPr rtlCol="0" anchor="ctr"/>
            <a:lstStyle/>
            <a:p>
              <a:endParaRPr lang="en-US" sz="1568"/>
            </a:p>
          </p:txBody>
        </p:sp>
        <p:sp>
          <p:nvSpPr>
            <p:cNvPr id="11" name="Freeform: Shape 10">
              <a:extLst>
                <a:ext uri="{FF2B5EF4-FFF2-40B4-BE49-F238E27FC236}">
                  <a16:creationId xmlns:a16="http://schemas.microsoft.com/office/drawing/2014/main" id="{36D10536-0B50-465E-B35F-E8F049351F20}"/>
                </a:ext>
              </a:extLst>
            </p:cNvPr>
            <p:cNvSpPr/>
            <p:nvPr/>
          </p:nvSpPr>
          <p:spPr>
            <a:xfrm>
              <a:off x="5844282" y="5070172"/>
              <a:ext cx="90922" cy="68806"/>
            </a:xfrm>
            <a:custGeom>
              <a:avLst/>
              <a:gdLst>
                <a:gd name="connsiteX0" fmla="*/ 61493 w 90922"/>
                <a:gd name="connsiteY0" fmla="*/ 66408 h 68806"/>
                <a:gd name="connsiteX1" fmla="*/ 11363 w 90922"/>
                <a:gd name="connsiteY1" fmla="*/ 37411 h 68806"/>
                <a:gd name="connsiteX2" fmla="*/ 4482 w 90922"/>
                <a:gd name="connsiteY2" fmla="*/ 11363 h 68806"/>
                <a:gd name="connsiteX3" fmla="*/ 30531 w 90922"/>
                <a:gd name="connsiteY3" fmla="*/ 4482 h 68806"/>
                <a:gd name="connsiteX4" fmla="*/ 80661 w 90922"/>
                <a:gd name="connsiteY4" fmla="*/ 33479 h 68806"/>
                <a:gd name="connsiteX5" fmla="*/ 87541 w 90922"/>
                <a:gd name="connsiteY5" fmla="*/ 59527 h 68806"/>
                <a:gd name="connsiteX6" fmla="*/ 61493 w 90922"/>
                <a:gd name="connsiteY6" fmla="*/ 66408 h 68806"/>
                <a:gd name="connsiteX7" fmla="*/ 61493 w 90922"/>
                <a:gd name="connsiteY7" fmla="*/ 66408 h 68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922" h="68806">
                  <a:moveTo>
                    <a:pt x="61493" y="66408"/>
                  </a:moveTo>
                  <a:lnTo>
                    <a:pt x="11363" y="37411"/>
                  </a:lnTo>
                  <a:cubicBezTo>
                    <a:pt x="2271" y="32251"/>
                    <a:pt x="-924" y="20455"/>
                    <a:pt x="4482" y="11363"/>
                  </a:cubicBezTo>
                  <a:cubicBezTo>
                    <a:pt x="9643" y="2271"/>
                    <a:pt x="21438" y="-924"/>
                    <a:pt x="30531" y="4482"/>
                  </a:cubicBezTo>
                  <a:lnTo>
                    <a:pt x="80661" y="33479"/>
                  </a:lnTo>
                  <a:cubicBezTo>
                    <a:pt x="89753" y="38640"/>
                    <a:pt x="92948" y="50435"/>
                    <a:pt x="87541" y="59527"/>
                  </a:cubicBezTo>
                  <a:cubicBezTo>
                    <a:pt x="82135" y="68620"/>
                    <a:pt x="70586" y="71814"/>
                    <a:pt x="61493" y="66408"/>
                  </a:cubicBezTo>
                  <a:lnTo>
                    <a:pt x="61493" y="66408"/>
                  </a:lnTo>
                  <a:close/>
                </a:path>
              </a:pathLst>
            </a:custGeom>
            <a:solidFill>
              <a:srgbClr val="CCD2DB"/>
            </a:solidFill>
            <a:ln w="9525" cap="flat">
              <a:noFill/>
              <a:prstDash val="solid"/>
              <a:miter/>
            </a:ln>
          </p:spPr>
          <p:txBody>
            <a:bodyPr rtlCol="0" anchor="ctr"/>
            <a:lstStyle/>
            <a:p>
              <a:endParaRPr lang="en-US" sz="1568"/>
            </a:p>
          </p:txBody>
        </p:sp>
        <p:sp>
          <p:nvSpPr>
            <p:cNvPr id="12" name="Freeform: Shape 11">
              <a:extLst>
                <a:ext uri="{FF2B5EF4-FFF2-40B4-BE49-F238E27FC236}">
                  <a16:creationId xmlns:a16="http://schemas.microsoft.com/office/drawing/2014/main" id="{F77DFA2D-EBC3-4CB9-95E9-BEB91D2BEE2A}"/>
                </a:ext>
              </a:extLst>
            </p:cNvPr>
            <p:cNvSpPr/>
            <p:nvPr/>
          </p:nvSpPr>
          <p:spPr>
            <a:xfrm>
              <a:off x="6303563" y="5335322"/>
              <a:ext cx="90922" cy="68806"/>
            </a:xfrm>
            <a:custGeom>
              <a:avLst/>
              <a:gdLst>
                <a:gd name="connsiteX0" fmla="*/ 61493 w 90922"/>
                <a:gd name="connsiteY0" fmla="*/ 66408 h 68806"/>
                <a:gd name="connsiteX1" fmla="*/ 11363 w 90922"/>
                <a:gd name="connsiteY1" fmla="*/ 37411 h 68806"/>
                <a:gd name="connsiteX2" fmla="*/ 4482 w 90922"/>
                <a:gd name="connsiteY2" fmla="*/ 11363 h 68806"/>
                <a:gd name="connsiteX3" fmla="*/ 30531 w 90922"/>
                <a:gd name="connsiteY3" fmla="*/ 4482 h 68806"/>
                <a:gd name="connsiteX4" fmla="*/ 80661 w 90922"/>
                <a:gd name="connsiteY4" fmla="*/ 33479 h 68806"/>
                <a:gd name="connsiteX5" fmla="*/ 87541 w 90922"/>
                <a:gd name="connsiteY5" fmla="*/ 59527 h 68806"/>
                <a:gd name="connsiteX6" fmla="*/ 61493 w 90922"/>
                <a:gd name="connsiteY6" fmla="*/ 66408 h 68806"/>
                <a:gd name="connsiteX7" fmla="*/ 61493 w 90922"/>
                <a:gd name="connsiteY7" fmla="*/ 66408 h 68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922" h="68806">
                  <a:moveTo>
                    <a:pt x="61493" y="66408"/>
                  </a:moveTo>
                  <a:lnTo>
                    <a:pt x="11363" y="37411"/>
                  </a:lnTo>
                  <a:cubicBezTo>
                    <a:pt x="2271" y="32251"/>
                    <a:pt x="-924" y="20455"/>
                    <a:pt x="4482" y="11363"/>
                  </a:cubicBezTo>
                  <a:cubicBezTo>
                    <a:pt x="9643" y="2271"/>
                    <a:pt x="21438" y="-924"/>
                    <a:pt x="30531" y="4482"/>
                  </a:cubicBezTo>
                  <a:lnTo>
                    <a:pt x="80661" y="33479"/>
                  </a:lnTo>
                  <a:cubicBezTo>
                    <a:pt x="89753" y="38640"/>
                    <a:pt x="92948" y="50435"/>
                    <a:pt x="87541" y="59527"/>
                  </a:cubicBezTo>
                  <a:cubicBezTo>
                    <a:pt x="82135" y="68620"/>
                    <a:pt x="70586" y="71814"/>
                    <a:pt x="61493" y="66408"/>
                  </a:cubicBezTo>
                  <a:lnTo>
                    <a:pt x="61493" y="66408"/>
                  </a:lnTo>
                  <a:close/>
                </a:path>
              </a:pathLst>
            </a:custGeom>
            <a:solidFill>
              <a:srgbClr val="CCD2DB"/>
            </a:solidFill>
            <a:ln w="9525" cap="flat">
              <a:noFill/>
              <a:prstDash val="solid"/>
              <a:miter/>
            </a:ln>
          </p:spPr>
          <p:txBody>
            <a:bodyPr rtlCol="0" anchor="ctr"/>
            <a:lstStyle/>
            <a:p>
              <a:endParaRPr lang="en-US" sz="1568"/>
            </a:p>
          </p:txBody>
        </p:sp>
        <p:sp>
          <p:nvSpPr>
            <p:cNvPr id="13" name="Freeform: Shape 12">
              <a:extLst>
                <a:ext uri="{FF2B5EF4-FFF2-40B4-BE49-F238E27FC236}">
                  <a16:creationId xmlns:a16="http://schemas.microsoft.com/office/drawing/2014/main" id="{E6263FA2-704C-49C6-9E1A-D06E1B61E1E1}"/>
                </a:ext>
              </a:extLst>
            </p:cNvPr>
            <p:cNvSpPr/>
            <p:nvPr/>
          </p:nvSpPr>
          <p:spPr>
            <a:xfrm>
              <a:off x="5844391" y="5335431"/>
              <a:ext cx="90922" cy="68806"/>
            </a:xfrm>
            <a:custGeom>
              <a:avLst/>
              <a:gdLst>
                <a:gd name="connsiteX0" fmla="*/ 4373 w 90922"/>
                <a:gd name="connsiteY0" fmla="*/ 59418 h 68806"/>
                <a:gd name="connsiteX1" fmla="*/ 11254 w 90922"/>
                <a:gd name="connsiteY1" fmla="*/ 33370 h 68806"/>
                <a:gd name="connsiteX2" fmla="*/ 61384 w 90922"/>
                <a:gd name="connsiteY2" fmla="*/ 4373 h 68806"/>
                <a:gd name="connsiteX3" fmla="*/ 87432 w 90922"/>
                <a:gd name="connsiteY3" fmla="*/ 11254 h 68806"/>
                <a:gd name="connsiteX4" fmla="*/ 80552 w 90922"/>
                <a:gd name="connsiteY4" fmla="*/ 37302 h 68806"/>
                <a:gd name="connsiteX5" fmla="*/ 30421 w 90922"/>
                <a:gd name="connsiteY5" fmla="*/ 66299 h 68806"/>
                <a:gd name="connsiteX6" fmla="*/ 4373 w 90922"/>
                <a:gd name="connsiteY6" fmla="*/ 59418 h 68806"/>
                <a:gd name="connsiteX7" fmla="*/ 4373 w 90922"/>
                <a:gd name="connsiteY7" fmla="*/ 59418 h 68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922" h="68806">
                  <a:moveTo>
                    <a:pt x="4373" y="59418"/>
                  </a:moveTo>
                  <a:cubicBezTo>
                    <a:pt x="-787" y="50326"/>
                    <a:pt x="2162" y="38776"/>
                    <a:pt x="11254" y="33370"/>
                  </a:cubicBezTo>
                  <a:lnTo>
                    <a:pt x="61384" y="4373"/>
                  </a:lnTo>
                  <a:cubicBezTo>
                    <a:pt x="70476" y="-787"/>
                    <a:pt x="82026" y="2162"/>
                    <a:pt x="87432" y="11254"/>
                  </a:cubicBezTo>
                  <a:cubicBezTo>
                    <a:pt x="92593" y="20346"/>
                    <a:pt x="89644" y="31896"/>
                    <a:pt x="80552" y="37302"/>
                  </a:cubicBezTo>
                  <a:lnTo>
                    <a:pt x="30421" y="66299"/>
                  </a:lnTo>
                  <a:cubicBezTo>
                    <a:pt x="21329" y="71705"/>
                    <a:pt x="9534" y="68510"/>
                    <a:pt x="4373" y="59418"/>
                  </a:cubicBezTo>
                  <a:lnTo>
                    <a:pt x="4373" y="59418"/>
                  </a:lnTo>
                  <a:close/>
                </a:path>
              </a:pathLst>
            </a:custGeom>
            <a:solidFill>
              <a:srgbClr val="CCD2DB"/>
            </a:solidFill>
            <a:ln w="9525" cap="flat">
              <a:noFill/>
              <a:prstDash val="solid"/>
              <a:miter/>
            </a:ln>
          </p:spPr>
          <p:txBody>
            <a:bodyPr rtlCol="0" anchor="ctr"/>
            <a:lstStyle/>
            <a:p>
              <a:endParaRPr lang="en-US" sz="1568"/>
            </a:p>
          </p:txBody>
        </p:sp>
        <p:sp>
          <p:nvSpPr>
            <p:cNvPr id="14" name="Freeform: Shape 13">
              <a:extLst>
                <a:ext uri="{FF2B5EF4-FFF2-40B4-BE49-F238E27FC236}">
                  <a16:creationId xmlns:a16="http://schemas.microsoft.com/office/drawing/2014/main" id="{DE0B1E20-4E6C-46D1-9B9C-BDA5AD2E38A6}"/>
                </a:ext>
              </a:extLst>
            </p:cNvPr>
            <p:cNvSpPr/>
            <p:nvPr/>
          </p:nvSpPr>
          <p:spPr>
            <a:xfrm>
              <a:off x="6303672" y="5070281"/>
              <a:ext cx="90922" cy="68806"/>
            </a:xfrm>
            <a:custGeom>
              <a:avLst/>
              <a:gdLst>
                <a:gd name="connsiteX0" fmla="*/ 4373 w 90922"/>
                <a:gd name="connsiteY0" fmla="*/ 59418 h 68806"/>
                <a:gd name="connsiteX1" fmla="*/ 11254 w 90922"/>
                <a:gd name="connsiteY1" fmla="*/ 33370 h 68806"/>
                <a:gd name="connsiteX2" fmla="*/ 61384 w 90922"/>
                <a:gd name="connsiteY2" fmla="*/ 4373 h 68806"/>
                <a:gd name="connsiteX3" fmla="*/ 87432 w 90922"/>
                <a:gd name="connsiteY3" fmla="*/ 11254 h 68806"/>
                <a:gd name="connsiteX4" fmla="*/ 80552 w 90922"/>
                <a:gd name="connsiteY4" fmla="*/ 37302 h 68806"/>
                <a:gd name="connsiteX5" fmla="*/ 30421 w 90922"/>
                <a:gd name="connsiteY5" fmla="*/ 66299 h 68806"/>
                <a:gd name="connsiteX6" fmla="*/ 4373 w 90922"/>
                <a:gd name="connsiteY6" fmla="*/ 59418 h 68806"/>
                <a:gd name="connsiteX7" fmla="*/ 4373 w 90922"/>
                <a:gd name="connsiteY7" fmla="*/ 59418 h 68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922" h="68806">
                  <a:moveTo>
                    <a:pt x="4373" y="59418"/>
                  </a:moveTo>
                  <a:cubicBezTo>
                    <a:pt x="-787" y="50326"/>
                    <a:pt x="2162" y="38776"/>
                    <a:pt x="11254" y="33370"/>
                  </a:cubicBezTo>
                  <a:lnTo>
                    <a:pt x="61384" y="4373"/>
                  </a:lnTo>
                  <a:cubicBezTo>
                    <a:pt x="70476" y="-787"/>
                    <a:pt x="82026" y="2162"/>
                    <a:pt x="87432" y="11254"/>
                  </a:cubicBezTo>
                  <a:cubicBezTo>
                    <a:pt x="92593" y="20346"/>
                    <a:pt x="89644" y="31896"/>
                    <a:pt x="80552" y="37302"/>
                  </a:cubicBezTo>
                  <a:lnTo>
                    <a:pt x="30421" y="66299"/>
                  </a:lnTo>
                  <a:cubicBezTo>
                    <a:pt x="21329" y="71705"/>
                    <a:pt x="9534" y="68510"/>
                    <a:pt x="4373" y="59418"/>
                  </a:cubicBezTo>
                  <a:lnTo>
                    <a:pt x="4373" y="59418"/>
                  </a:lnTo>
                  <a:close/>
                </a:path>
              </a:pathLst>
            </a:custGeom>
            <a:solidFill>
              <a:srgbClr val="CCD2DB"/>
            </a:solidFill>
            <a:ln w="9525" cap="flat">
              <a:noFill/>
              <a:prstDash val="solid"/>
              <a:miter/>
            </a:ln>
          </p:spPr>
          <p:txBody>
            <a:bodyPr rtlCol="0" anchor="ctr"/>
            <a:lstStyle/>
            <a:p>
              <a:endParaRPr lang="en-US" sz="1568"/>
            </a:p>
          </p:txBody>
        </p:sp>
        <p:sp>
          <p:nvSpPr>
            <p:cNvPr id="15" name="Freeform: Shape 14">
              <a:extLst>
                <a:ext uri="{FF2B5EF4-FFF2-40B4-BE49-F238E27FC236}">
                  <a16:creationId xmlns:a16="http://schemas.microsoft.com/office/drawing/2014/main" id="{7CCDB35F-E407-4CCA-BCA5-F281661F7677}"/>
                </a:ext>
              </a:extLst>
            </p:cNvPr>
            <p:cNvSpPr/>
            <p:nvPr/>
          </p:nvSpPr>
          <p:spPr>
            <a:xfrm>
              <a:off x="5882062" y="5000319"/>
              <a:ext cx="474271" cy="474271"/>
            </a:xfrm>
            <a:custGeom>
              <a:avLst/>
              <a:gdLst>
                <a:gd name="connsiteX0" fmla="*/ 474148 w 474271"/>
                <a:gd name="connsiteY0" fmla="*/ 237996 h 474271"/>
                <a:gd name="connsiteX1" fmla="*/ 237996 w 474271"/>
                <a:gd name="connsiteY1" fmla="*/ 474148 h 474271"/>
                <a:gd name="connsiteX2" fmla="*/ 1843 w 474271"/>
                <a:gd name="connsiteY2" fmla="*/ 237996 h 474271"/>
                <a:gd name="connsiteX3" fmla="*/ 237996 w 474271"/>
                <a:gd name="connsiteY3" fmla="*/ 1843 h 474271"/>
                <a:gd name="connsiteX4" fmla="*/ 474148 w 474271"/>
                <a:gd name="connsiteY4" fmla="*/ 237996 h 474271"/>
                <a:gd name="connsiteX5" fmla="*/ 474148 w 474271"/>
                <a:gd name="connsiteY5" fmla="*/ 237996 h 474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271" h="474271">
                  <a:moveTo>
                    <a:pt x="474148" y="237996"/>
                  </a:moveTo>
                  <a:cubicBezTo>
                    <a:pt x="474148" y="368482"/>
                    <a:pt x="368482" y="474148"/>
                    <a:pt x="237996" y="474148"/>
                  </a:cubicBezTo>
                  <a:cubicBezTo>
                    <a:pt x="107510" y="474148"/>
                    <a:pt x="1843" y="368482"/>
                    <a:pt x="1843" y="237996"/>
                  </a:cubicBezTo>
                  <a:cubicBezTo>
                    <a:pt x="1843" y="107510"/>
                    <a:pt x="107510" y="1843"/>
                    <a:pt x="237996" y="1843"/>
                  </a:cubicBezTo>
                  <a:cubicBezTo>
                    <a:pt x="368236" y="1843"/>
                    <a:pt x="474148" y="107510"/>
                    <a:pt x="474148" y="237996"/>
                  </a:cubicBezTo>
                  <a:lnTo>
                    <a:pt x="474148" y="237996"/>
                  </a:lnTo>
                  <a:close/>
                </a:path>
              </a:pathLst>
            </a:custGeom>
            <a:solidFill>
              <a:srgbClr val="54A0FF"/>
            </a:solidFill>
            <a:ln w="9525" cap="flat">
              <a:noFill/>
              <a:prstDash val="solid"/>
              <a:miter/>
            </a:ln>
          </p:spPr>
          <p:txBody>
            <a:bodyPr rtlCol="0" anchor="ctr"/>
            <a:lstStyle/>
            <a:p>
              <a:endParaRPr lang="en-US" sz="1568"/>
            </a:p>
          </p:txBody>
        </p:sp>
        <p:sp>
          <p:nvSpPr>
            <p:cNvPr id="16" name="Freeform: Shape 15">
              <a:extLst>
                <a:ext uri="{FF2B5EF4-FFF2-40B4-BE49-F238E27FC236}">
                  <a16:creationId xmlns:a16="http://schemas.microsoft.com/office/drawing/2014/main" id="{B54B3D96-0AE6-44B6-B469-3B02E9317E59}"/>
                </a:ext>
              </a:extLst>
            </p:cNvPr>
            <p:cNvSpPr/>
            <p:nvPr/>
          </p:nvSpPr>
          <p:spPr>
            <a:xfrm>
              <a:off x="5882062" y="5000319"/>
              <a:ext cx="277682" cy="474271"/>
            </a:xfrm>
            <a:custGeom>
              <a:avLst/>
              <a:gdLst>
                <a:gd name="connsiteX0" fmla="*/ 77776 w 277682"/>
                <a:gd name="connsiteY0" fmla="*/ 237996 h 474271"/>
                <a:gd name="connsiteX1" fmla="*/ 276085 w 277682"/>
                <a:gd name="connsiteY1" fmla="*/ 4792 h 474271"/>
                <a:gd name="connsiteX2" fmla="*/ 237996 w 277682"/>
                <a:gd name="connsiteY2" fmla="*/ 1843 h 474271"/>
                <a:gd name="connsiteX3" fmla="*/ 1843 w 277682"/>
                <a:gd name="connsiteY3" fmla="*/ 237996 h 474271"/>
                <a:gd name="connsiteX4" fmla="*/ 237996 w 277682"/>
                <a:gd name="connsiteY4" fmla="*/ 474148 h 474271"/>
                <a:gd name="connsiteX5" fmla="*/ 276085 w 277682"/>
                <a:gd name="connsiteY5" fmla="*/ 471199 h 474271"/>
                <a:gd name="connsiteX6" fmla="*/ 77776 w 277682"/>
                <a:gd name="connsiteY6" fmla="*/ 237996 h 474271"/>
                <a:gd name="connsiteX7" fmla="*/ 77776 w 277682"/>
                <a:gd name="connsiteY7" fmla="*/ 237996 h 474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682" h="474271">
                  <a:moveTo>
                    <a:pt x="77776" y="237996"/>
                  </a:moveTo>
                  <a:cubicBezTo>
                    <a:pt x="77776" y="120534"/>
                    <a:pt x="163538" y="22976"/>
                    <a:pt x="276085" y="4792"/>
                  </a:cubicBezTo>
                  <a:cubicBezTo>
                    <a:pt x="263798" y="2826"/>
                    <a:pt x="251020" y="1843"/>
                    <a:pt x="237996" y="1843"/>
                  </a:cubicBezTo>
                  <a:cubicBezTo>
                    <a:pt x="107510" y="1843"/>
                    <a:pt x="1843" y="107510"/>
                    <a:pt x="1843" y="237996"/>
                  </a:cubicBezTo>
                  <a:cubicBezTo>
                    <a:pt x="1843" y="368482"/>
                    <a:pt x="107510" y="474148"/>
                    <a:pt x="237996" y="474148"/>
                  </a:cubicBezTo>
                  <a:cubicBezTo>
                    <a:pt x="251020" y="474148"/>
                    <a:pt x="263552" y="473165"/>
                    <a:pt x="276085" y="471199"/>
                  </a:cubicBezTo>
                  <a:cubicBezTo>
                    <a:pt x="163538" y="453015"/>
                    <a:pt x="77776" y="355458"/>
                    <a:pt x="77776" y="237996"/>
                  </a:cubicBezTo>
                  <a:lnTo>
                    <a:pt x="77776" y="237996"/>
                  </a:lnTo>
                  <a:close/>
                </a:path>
              </a:pathLst>
            </a:custGeom>
            <a:solidFill>
              <a:srgbClr val="338DEF"/>
            </a:solidFill>
            <a:ln w="9525" cap="flat">
              <a:noFill/>
              <a:prstDash val="solid"/>
              <a:miter/>
            </a:ln>
          </p:spPr>
          <p:txBody>
            <a:bodyPr rtlCol="0" anchor="ctr"/>
            <a:lstStyle/>
            <a:p>
              <a:endParaRPr lang="en-US" sz="1568"/>
            </a:p>
          </p:txBody>
        </p:sp>
        <p:sp>
          <p:nvSpPr>
            <p:cNvPr id="17" name="Freeform: Shape 16">
              <a:extLst>
                <a:ext uri="{FF2B5EF4-FFF2-40B4-BE49-F238E27FC236}">
                  <a16:creationId xmlns:a16="http://schemas.microsoft.com/office/drawing/2014/main" id="{4BEA907F-25AF-4ECA-B1D8-C264B71AC0EE}"/>
                </a:ext>
              </a:extLst>
            </p:cNvPr>
            <p:cNvSpPr/>
            <p:nvPr/>
          </p:nvSpPr>
          <p:spPr>
            <a:xfrm>
              <a:off x="6047688" y="5066422"/>
              <a:ext cx="142527" cy="142527"/>
            </a:xfrm>
            <a:custGeom>
              <a:avLst/>
              <a:gdLst>
                <a:gd name="connsiteX0" fmla="*/ 142404 w 142527"/>
                <a:gd name="connsiteY0" fmla="*/ 72124 h 142527"/>
                <a:gd name="connsiteX1" fmla="*/ 72124 w 142527"/>
                <a:gd name="connsiteY1" fmla="*/ 142404 h 142527"/>
                <a:gd name="connsiteX2" fmla="*/ 1843 w 142527"/>
                <a:gd name="connsiteY2" fmla="*/ 72124 h 142527"/>
                <a:gd name="connsiteX3" fmla="*/ 72124 w 142527"/>
                <a:gd name="connsiteY3" fmla="*/ 1843 h 142527"/>
                <a:gd name="connsiteX4" fmla="*/ 142404 w 142527"/>
                <a:gd name="connsiteY4" fmla="*/ 72124 h 142527"/>
                <a:gd name="connsiteX5" fmla="*/ 142404 w 142527"/>
                <a:gd name="connsiteY5"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527" h="142527">
                  <a:moveTo>
                    <a:pt x="142404" y="72124"/>
                  </a:moveTo>
                  <a:cubicBezTo>
                    <a:pt x="142404" y="110950"/>
                    <a:pt x="110950" y="142404"/>
                    <a:pt x="72124" y="142404"/>
                  </a:cubicBezTo>
                  <a:cubicBezTo>
                    <a:pt x="33297" y="142404"/>
                    <a:pt x="1843" y="110950"/>
                    <a:pt x="1843" y="72124"/>
                  </a:cubicBezTo>
                  <a:cubicBezTo>
                    <a:pt x="1843" y="33297"/>
                    <a:pt x="33297" y="1843"/>
                    <a:pt x="72124" y="1843"/>
                  </a:cubicBezTo>
                  <a:cubicBezTo>
                    <a:pt x="110950" y="2089"/>
                    <a:pt x="142404" y="33543"/>
                    <a:pt x="142404" y="72124"/>
                  </a:cubicBezTo>
                  <a:lnTo>
                    <a:pt x="142404" y="72124"/>
                  </a:lnTo>
                  <a:close/>
                </a:path>
              </a:pathLst>
            </a:custGeom>
            <a:solidFill>
              <a:srgbClr val="FFCDBF"/>
            </a:solidFill>
            <a:ln w="9525" cap="flat">
              <a:noFill/>
              <a:prstDash val="solid"/>
              <a:miter/>
            </a:ln>
          </p:spPr>
          <p:txBody>
            <a:bodyPr rtlCol="0" anchor="ctr"/>
            <a:lstStyle/>
            <a:p>
              <a:endParaRPr lang="en-US" sz="1568"/>
            </a:p>
          </p:txBody>
        </p:sp>
        <p:sp>
          <p:nvSpPr>
            <p:cNvPr id="18" name="Freeform: Shape 17">
              <a:extLst>
                <a:ext uri="{FF2B5EF4-FFF2-40B4-BE49-F238E27FC236}">
                  <a16:creationId xmlns:a16="http://schemas.microsoft.com/office/drawing/2014/main" id="{3F33B8CC-0744-40CE-9013-7168BC6E8C13}"/>
                </a:ext>
              </a:extLst>
            </p:cNvPr>
            <p:cNvSpPr/>
            <p:nvPr/>
          </p:nvSpPr>
          <p:spPr>
            <a:xfrm>
              <a:off x="6003210" y="5206984"/>
              <a:ext cx="230992" cy="176930"/>
            </a:xfrm>
            <a:custGeom>
              <a:avLst/>
              <a:gdLst>
                <a:gd name="connsiteX0" fmla="*/ 156411 w 230992"/>
                <a:gd name="connsiteY0" fmla="*/ 1843 h 176930"/>
                <a:gd name="connsiteX1" fmla="*/ 77038 w 230992"/>
                <a:gd name="connsiteY1" fmla="*/ 1843 h 176930"/>
                <a:gd name="connsiteX2" fmla="*/ 1843 w 230992"/>
                <a:gd name="connsiteY2" fmla="*/ 77038 h 176930"/>
                <a:gd name="connsiteX3" fmla="*/ 1843 w 230992"/>
                <a:gd name="connsiteY3" fmla="*/ 164029 h 176930"/>
                <a:gd name="connsiteX4" fmla="*/ 14621 w 230992"/>
                <a:gd name="connsiteY4" fmla="*/ 176807 h 176930"/>
                <a:gd name="connsiteX5" fmla="*/ 218828 w 230992"/>
                <a:gd name="connsiteY5" fmla="*/ 176807 h 176930"/>
                <a:gd name="connsiteX6" fmla="*/ 231606 w 230992"/>
                <a:gd name="connsiteY6" fmla="*/ 164029 h 176930"/>
                <a:gd name="connsiteX7" fmla="*/ 231606 w 230992"/>
                <a:gd name="connsiteY7" fmla="*/ 77038 h 176930"/>
                <a:gd name="connsiteX8" fmla="*/ 156411 w 230992"/>
                <a:gd name="connsiteY8" fmla="*/ 1843 h 176930"/>
                <a:gd name="connsiteX9" fmla="*/ 156411 w 230992"/>
                <a:gd name="connsiteY9" fmla="*/ 1843 h 176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0992" h="176930">
                  <a:moveTo>
                    <a:pt x="156411" y="1843"/>
                  </a:moveTo>
                  <a:lnTo>
                    <a:pt x="77038" y="1843"/>
                  </a:lnTo>
                  <a:cubicBezTo>
                    <a:pt x="35755" y="1843"/>
                    <a:pt x="1843" y="35755"/>
                    <a:pt x="1843" y="77038"/>
                  </a:cubicBezTo>
                  <a:lnTo>
                    <a:pt x="1843" y="164029"/>
                  </a:lnTo>
                  <a:cubicBezTo>
                    <a:pt x="1843" y="171155"/>
                    <a:pt x="7495" y="176807"/>
                    <a:pt x="14621" y="176807"/>
                  </a:cubicBezTo>
                  <a:lnTo>
                    <a:pt x="218828" y="176807"/>
                  </a:lnTo>
                  <a:cubicBezTo>
                    <a:pt x="225955" y="176807"/>
                    <a:pt x="231606" y="171155"/>
                    <a:pt x="231606" y="164029"/>
                  </a:cubicBezTo>
                  <a:lnTo>
                    <a:pt x="231606" y="77038"/>
                  </a:lnTo>
                  <a:cubicBezTo>
                    <a:pt x="231606" y="35509"/>
                    <a:pt x="197695" y="1843"/>
                    <a:pt x="156411" y="1843"/>
                  </a:cubicBezTo>
                  <a:lnTo>
                    <a:pt x="156411" y="1843"/>
                  </a:lnTo>
                  <a:close/>
                </a:path>
              </a:pathLst>
            </a:custGeom>
            <a:solidFill>
              <a:srgbClr val="FECA57"/>
            </a:solidFill>
            <a:ln w="9525" cap="flat">
              <a:noFill/>
              <a:prstDash val="solid"/>
              <a:miter/>
            </a:ln>
          </p:spPr>
          <p:txBody>
            <a:bodyPr rtlCol="0" anchor="ctr"/>
            <a:lstStyle/>
            <a:p>
              <a:endParaRPr lang="en-US" sz="1568"/>
            </a:p>
          </p:txBody>
        </p:sp>
        <p:sp>
          <p:nvSpPr>
            <p:cNvPr id="19" name="Freeform: Shape 18">
              <a:extLst>
                <a:ext uri="{FF2B5EF4-FFF2-40B4-BE49-F238E27FC236}">
                  <a16:creationId xmlns:a16="http://schemas.microsoft.com/office/drawing/2014/main" id="{1ABF90C4-4D26-4C66-AB09-8B823DEC7CB1}"/>
                </a:ext>
              </a:extLst>
            </p:cNvPr>
            <p:cNvSpPr/>
            <p:nvPr/>
          </p:nvSpPr>
          <p:spPr>
            <a:xfrm>
              <a:off x="6003210" y="5206984"/>
              <a:ext cx="127783" cy="176930"/>
            </a:xfrm>
            <a:custGeom>
              <a:avLst/>
              <a:gdLst>
                <a:gd name="connsiteX0" fmla="*/ 52465 w 127782"/>
                <a:gd name="connsiteY0" fmla="*/ 164029 h 176930"/>
                <a:gd name="connsiteX1" fmla="*/ 52465 w 127782"/>
                <a:gd name="connsiteY1" fmla="*/ 77038 h 176930"/>
                <a:gd name="connsiteX2" fmla="*/ 127660 w 127782"/>
                <a:gd name="connsiteY2" fmla="*/ 1843 h 176930"/>
                <a:gd name="connsiteX3" fmla="*/ 77038 w 127782"/>
                <a:gd name="connsiteY3" fmla="*/ 1843 h 176930"/>
                <a:gd name="connsiteX4" fmla="*/ 1843 w 127782"/>
                <a:gd name="connsiteY4" fmla="*/ 77038 h 176930"/>
                <a:gd name="connsiteX5" fmla="*/ 1843 w 127782"/>
                <a:gd name="connsiteY5" fmla="*/ 164029 h 176930"/>
                <a:gd name="connsiteX6" fmla="*/ 14621 w 127782"/>
                <a:gd name="connsiteY6" fmla="*/ 176807 h 176930"/>
                <a:gd name="connsiteX7" fmla="*/ 65243 w 127782"/>
                <a:gd name="connsiteY7" fmla="*/ 176807 h 176930"/>
                <a:gd name="connsiteX8" fmla="*/ 52465 w 127782"/>
                <a:gd name="connsiteY8" fmla="*/ 164029 h 176930"/>
                <a:gd name="connsiteX9" fmla="*/ 52465 w 127782"/>
                <a:gd name="connsiteY9" fmla="*/ 164029 h 176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82" h="176930">
                  <a:moveTo>
                    <a:pt x="52465" y="164029"/>
                  </a:moveTo>
                  <a:lnTo>
                    <a:pt x="52465" y="77038"/>
                  </a:lnTo>
                  <a:cubicBezTo>
                    <a:pt x="52465" y="35755"/>
                    <a:pt x="86376" y="1843"/>
                    <a:pt x="127660" y="1843"/>
                  </a:cubicBezTo>
                  <a:lnTo>
                    <a:pt x="77038" y="1843"/>
                  </a:lnTo>
                  <a:cubicBezTo>
                    <a:pt x="35755" y="1843"/>
                    <a:pt x="1843" y="35755"/>
                    <a:pt x="1843" y="77038"/>
                  </a:cubicBezTo>
                  <a:lnTo>
                    <a:pt x="1843" y="164029"/>
                  </a:lnTo>
                  <a:cubicBezTo>
                    <a:pt x="1843" y="171155"/>
                    <a:pt x="7495" y="176807"/>
                    <a:pt x="14621" y="176807"/>
                  </a:cubicBezTo>
                  <a:lnTo>
                    <a:pt x="65243" y="176807"/>
                  </a:lnTo>
                  <a:cubicBezTo>
                    <a:pt x="58117" y="176807"/>
                    <a:pt x="52465" y="171155"/>
                    <a:pt x="52465" y="164029"/>
                  </a:cubicBezTo>
                  <a:lnTo>
                    <a:pt x="52465" y="164029"/>
                  </a:lnTo>
                  <a:close/>
                </a:path>
              </a:pathLst>
            </a:custGeom>
            <a:solidFill>
              <a:srgbClr val="F4B537"/>
            </a:solidFill>
            <a:ln w="9525" cap="flat">
              <a:noFill/>
              <a:prstDash val="solid"/>
              <a:miter/>
            </a:ln>
          </p:spPr>
          <p:txBody>
            <a:bodyPr rtlCol="0" anchor="ctr"/>
            <a:lstStyle/>
            <a:p>
              <a:endParaRPr lang="en-US" sz="1568"/>
            </a:p>
          </p:txBody>
        </p:sp>
        <p:sp>
          <p:nvSpPr>
            <p:cNvPr id="20" name="Freeform: Shape 19">
              <a:extLst>
                <a:ext uri="{FF2B5EF4-FFF2-40B4-BE49-F238E27FC236}">
                  <a16:creationId xmlns:a16="http://schemas.microsoft.com/office/drawing/2014/main" id="{C6150B04-A5AC-4B73-86B2-E1901BAA1D21}"/>
                </a:ext>
              </a:extLst>
            </p:cNvPr>
            <p:cNvSpPr/>
            <p:nvPr/>
          </p:nvSpPr>
          <p:spPr>
            <a:xfrm>
              <a:off x="6042036" y="5260554"/>
              <a:ext cx="39318" cy="122868"/>
            </a:xfrm>
            <a:custGeom>
              <a:avLst/>
              <a:gdLst>
                <a:gd name="connsiteX0" fmla="*/ 39686 w 39317"/>
                <a:gd name="connsiteY0" fmla="*/ 123237 h 122868"/>
                <a:gd name="connsiteX1" fmla="*/ 39686 w 39317"/>
                <a:gd name="connsiteY1" fmla="*/ 20765 h 122868"/>
                <a:gd name="connsiteX2" fmla="*/ 20765 w 39317"/>
                <a:gd name="connsiteY2" fmla="*/ 1843 h 122868"/>
                <a:gd name="connsiteX3" fmla="*/ 1843 w 39317"/>
                <a:gd name="connsiteY3" fmla="*/ 20765 h 122868"/>
                <a:gd name="connsiteX4" fmla="*/ 1843 w 39317"/>
                <a:gd name="connsiteY4" fmla="*/ 123237 h 122868"/>
                <a:gd name="connsiteX5" fmla="*/ 39686 w 39317"/>
                <a:gd name="connsiteY5" fmla="*/ 123237 h 12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17" h="122868">
                  <a:moveTo>
                    <a:pt x="39686" y="123237"/>
                  </a:moveTo>
                  <a:lnTo>
                    <a:pt x="39686" y="20765"/>
                  </a:lnTo>
                  <a:cubicBezTo>
                    <a:pt x="39686" y="10198"/>
                    <a:pt x="31086" y="1843"/>
                    <a:pt x="20765" y="1843"/>
                  </a:cubicBezTo>
                  <a:cubicBezTo>
                    <a:pt x="10198" y="1843"/>
                    <a:pt x="1843" y="10444"/>
                    <a:pt x="1843" y="20765"/>
                  </a:cubicBezTo>
                  <a:lnTo>
                    <a:pt x="1843" y="123237"/>
                  </a:lnTo>
                  <a:lnTo>
                    <a:pt x="39686" y="123237"/>
                  </a:lnTo>
                  <a:close/>
                </a:path>
              </a:pathLst>
            </a:custGeom>
            <a:solidFill>
              <a:srgbClr val="F4B537"/>
            </a:solidFill>
            <a:ln w="9525" cap="flat">
              <a:noFill/>
              <a:prstDash val="solid"/>
              <a:miter/>
            </a:ln>
          </p:spPr>
          <p:txBody>
            <a:bodyPr rtlCol="0" anchor="ctr"/>
            <a:lstStyle/>
            <a:p>
              <a:endParaRPr lang="en-US" sz="1568"/>
            </a:p>
          </p:txBody>
        </p:sp>
        <p:sp>
          <p:nvSpPr>
            <p:cNvPr id="21" name="Freeform: Shape 20">
              <a:extLst>
                <a:ext uri="{FF2B5EF4-FFF2-40B4-BE49-F238E27FC236}">
                  <a16:creationId xmlns:a16="http://schemas.microsoft.com/office/drawing/2014/main" id="{C6DB53A0-3277-43EB-B6E5-573C2F5D373E}"/>
                </a:ext>
              </a:extLst>
            </p:cNvPr>
            <p:cNvSpPr/>
            <p:nvPr/>
          </p:nvSpPr>
          <p:spPr>
            <a:xfrm>
              <a:off x="6156303" y="5260554"/>
              <a:ext cx="39318" cy="122868"/>
            </a:xfrm>
            <a:custGeom>
              <a:avLst/>
              <a:gdLst>
                <a:gd name="connsiteX0" fmla="*/ 39686 w 39317"/>
                <a:gd name="connsiteY0" fmla="*/ 20765 h 122868"/>
                <a:gd name="connsiteX1" fmla="*/ 20765 w 39317"/>
                <a:gd name="connsiteY1" fmla="*/ 1843 h 122868"/>
                <a:gd name="connsiteX2" fmla="*/ 1843 w 39317"/>
                <a:gd name="connsiteY2" fmla="*/ 20765 h 122868"/>
                <a:gd name="connsiteX3" fmla="*/ 1843 w 39317"/>
                <a:gd name="connsiteY3" fmla="*/ 123237 h 122868"/>
                <a:gd name="connsiteX4" fmla="*/ 39686 w 39317"/>
                <a:gd name="connsiteY4" fmla="*/ 123237 h 122868"/>
                <a:gd name="connsiteX5" fmla="*/ 39686 w 39317"/>
                <a:gd name="connsiteY5" fmla="*/ 20765 h 12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17" h="122868">
                  <a:moveTo>
                    <a:pt x="39686" y="20765"/>
                  </a:moveTo>
                  <a:cubicBezTo>
                    <a:pt x="39686" y="10198"/>
                    <a:pt x="31086" y="1843"/>
                    <a:pt x="20765" y="1843"/>
                  </a:cubicBezTo>
                  <a:cubicBezTo>
                    <a:pt x="10198" y="1843"/>
                    <a:pt x="1843" y="10444"/>
                    <a:pt x="1843" y="20765"/>
                  </a:cubicBezTo>
                  <a:lnTo>
                    <a:pt x="1843" y="123237"/>
                  </a:lnTo>
                  <a:lnTo>
                    <a:pt x="39686" y="123237"/>
                  </a:lnTo>
                  <a:lnTo>
                    <a:pt x="39686" y="20765"/>
                  </a:lnTo>
                  <a:close/>
                </a:path>
              </a:pathLst>
            </a:custGeom>
            <a:solidFill>
              <a:srgbClr val="F4B537"/>
            </a:solidFill>
            <a:ln w="9525" cap="flat">
              <a:noFill/>
              <a:prstDash val="solid"/>
              <a:miter/>
            </a:ln>
          </p:spPr>
          <p:txBody>
            <a:bodyPr rtlCol="0" anchor="ctr"/>
            <a:lstStyle/>
            <a:p>
              <a:endParaRPr lang="en-US" sz="1568"/>
            </a:p>
          </p:txBody>
        </p:sp>
        <p:sp>
          <p:nvSpPr>
            <p:cNvPr id="22" name="Freeform: Shape 21">
              <a:extLst>
                <a:ext uri="{FF2B5EF4-FFF2-40B4-BE49-F238E27FC236}">
                  <a16:creationId xmlns:a16="http://schemas.microsoft.com/office/drawing/2014/main" id="{B8D15FD4-3050-424D-AF7F-6E289BC14C12}"/>
                </a:ext>
              </a:extLst>
            </p:cNvPr>
            <p:cNvSpPr/>
            <p:nvPr/>
          </p:nvSpPr>
          <p:spPr>
            <a:xfrm>
              <a:off x="6471092" y="5300609"/>
              <a:ext cx="142527" cy="142527"/>
            </a:xfrm>
            <a:custGeom>
              <a:avLst/>
              <a:gdLst>
                <a:gd name="connsiteX0" fmla="*/ 142404 w 142527"/>
                <a:gd name="connsiteY0" fmla="*/ 72124 h 142527"/>
                <a:gd name="connsiteX1" fmla="*/ 72124 w 142527"/>
                <a:gd name="connsiteY1" fmla="*/ 142158 h 142527"/>
                <a:gd name="connsiteX2" fmla="*/ 1843 w 142527"/>
                <a:gd name="connsiteY2" fmla="*/ 72124 h 142527"/>
                <a:gd name="connsiteX3" fmla="*/ 72124 w 142527"/>
                <a:gd name="connsiteY3" fmla="*/ 1843 h 142527"/>
                <a:gd name="connsiteX4" fmla="*/ 142404 w 142527"/>
                <a:gd name="connsiteY4" fmla="*/ 72124 h 142527"/>
                <a:gd name="connsiteX5" fmla="*/ 142404 w 142527"/>
                <a:gd name="connsiteY5"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527" h="142527">
                  <a:moveTo>
                    <a:pt x="142404" y="72124"/>
                  </a:moveTo>
                  <a:cubicBezTo>
                    <a:pt x="142404" y="110950"/>
                    <a:pt x="110950" y="142158"/>
                    <a:pt x="72124" y="142158"/>
                  </a:cubicBezTo>
                  <a:cubicBezTo>
                    <a:pt x="33297" y="142158"/>
                    <a:pt x="1843" y="110704"/>
                    <a:pt x="1843" y="72124"/>
                  </a:cubicBezTo>
                  <a:cubicBezTo>
                    <a:pt x="1843" y="33297"/>
                    <a:pt x="33297" y="1843"/>
                    <a:pt x="72124" y="1843"/>
                  </a:cubicBezTo>
                  <a:cubicBezTo>
                    <a:pt x="110950" y="2089"/>
                    <a:pt x="142404" y="33543"/>
                    <a:pt x="142404" y="72124"/>
                  </a:cubicBezTo>
                  <a:lnTo>
                    <a:pt x="142404" y="72124"/>
                  </a:lnTo>
                  <a:close/>
                </a:path>
              </a:pathLst>
            </a:custGeom>
            <a:solidFill>
              <a:srgbClr val="FFCDBF"/>
            </a:solidFill>
            <a:ln w="9525" cap="flat">
              <a:noFill/>
              <a:prstDash val="solid"/>
              <a:miter/>
            </a:ln>
          </p:spPr>
          <p:txBody>
            <a:bodyPr rtlCol="0" anchor="ctr"/>
            <a:lstStyle/>
            <a:p>
              <a:endParaRPr lang="en-US" sz="1568"/>
            </a:p>
          </p:txBody>
        </p:sp>
        <p:sp>
          <p:nvSpPr>
            <p:cNvPr id="23" name="Freeform: Shape 22">
              <a:extLst>
                <a:ext uri="{FF2B5EF4-FFF2-40B4-BE49-F238E27FC236}">
                  <a16:creationId xmlns:a16="http://schemas.microsoft.com/office/drawing/2014/main" id="{81DCEEB4-7304-43D0-A9BD-53D5E50B4C4B}"/>
                </a:ext>
              </a:extLst>
            </p:cNvPr>
            <p:cNvSpPr/>
            <p:nvPr/>
          </p:nvSpPr>
          <p:spPr>
            <a:xfrm>
              <a:off x="6426613" y="5441170"/>
              <a:ext cx="233449" cy="149899"/>
            </a:xfrm>
            <a:custGeom>
              <a:avLst/>
              <a:gdLst>
                <a:gd name="connsiteX0" fmla="*/ 156411 w 233449"/>
                <a:gd name="connsiteY0" fmla="*/ 1843 h 149899"/>
                <a:gd name="connsiteX1" fmla="*/ 77038 w 233449"/>
                <a:gd name="connsiteY1" fmla="*/ 1843 h 149899"/>
                <a:gd name="connsiteX2" fmla="*/ 1843 w 233449"/>
                <a:gd name="connsiteY2" fmla="*/ 77038 h 149899"/>
                <a:gd name="connsiteX3" fmla="*/ 1843 w 233449"/>
                <a:gd name="connsiteY3" fmla="*/ 135769 h 149899"/>
                <a:gd name="connsiteX4" fmla="*/ 14621 w 233449"/>
                <a:gd name="connsiteY4" fmla="*/ 148548 h 149899"/>
                <a:gd name="connsiteX5" fmla="*/ 218828 w 233449"/>
                <a:gd name="connsiteY5" fmla="*/ 148548 h 149899"/>
                <a:gd name="connsiteX6" fmla="*/ 231606 w 233449"/>
                <a:gd name="connsiteY6" fmla="*/ 135769 h 149899"/>
                <a:gd name="connsiteX7" fmla="*/ 231606 w 233449"/>
                <a:gd name="connsiteY7" fmla="*/ 77038 h 149899"/>
                <a:gd name="connsiteX8" fmla="*/ 156411 w 233449"/>
                <a:gd name="connsiteY8" fmla="*/ 1843 h 149899"/>
                <a:gd name="connsiteX9" fmla="*/ 156411 w 233449"/>
                <a:gd name="connsiteY9" fmla="*/ 1843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3449" h="149899">
                  <a:moveTo>
                    <a:pt x="156411" y="1843"/>
                  </a:moveTo>
                  <a:lnTo>
                    <a:pt x="77038" y="1843"/>
                  </a:lnTo>
                  <a:cubicBezTo>
                    <a:pt x="35755" y="1843"/>
                    <a:pt x="1843" y="35755"/>
                    <a:pt x="1843" y="77038"/>
                  </a:cubicBezTo>
                  <a:lnTo>
                    <a:pt x="1843" y="135769"/>
                  </a:lnTo>
                  <a:cubicBezTo>
                    <a:pt x="1843" y="142896"/>
                    <a:pt x="7495" y="148548"/>
                    <a:pt x="14621" y="148548"/>
                  </a:cubicBezTo>
                  <a:lnTo>
                    <a:pt x="218828" y="148548"/>
                  </a:lnTo>
                  <a:cubicBezTo>
                    <a:pt x="225954" y="148548"/>
                    <a:pt x="231606" y="142896"/>
                    <a:pt x="231606" y="135769"/>
                  </a:cubicBezTo>
                  <a:lnTo>
                    <a:pt x="231606" y="77038"/>
                  </a:lnTo>
                  <a:cubicBezTo>
                    <a:pt x="231606" y="35509"/>
                    <a:pt x="197695" y="1843"/>
                    <a:pt x="156411" y="1843"/>
                  </a:cubicBezTo>
                  <a:lnTo>
                    <a:pt x="156411" y="1843"/>
                  </a:lnTo>
                  <a:close/>
                </a:path>
              </a:pathLst>
            </a:custGeom>
            <a:solidFill>
              <a:srgbClr val="FF6B6B"/>
            </a:solidFill>
            <a:ln w="9525" cap="flat">
              <a:noFill/>
              <a:prstDash val="solid"/>
              <a:miter/>
            </a:ln>
          </p:spPr>
          <p:txBody>
            <a:bodyPr rtlCol="0" anchor="ctr"/>
            <a:lstStyle/>
            <a:p>
              <a:endParaRPr lang="en-US" sz="1568"/>
            </a:p>
          </p:txBody>
        </p:sp>
        <p:sp>
          <p:nvSpPr>
            <p:cNvPr id="24" name="Freeform: Shape 23">
              <a:extLst>
                <a:ext uri="{FF2B5EF4-FFF2-40B4-BE49-F238E27FC236}">
                  <a16:creationId xmlns:a16="http://schemas.microsoft.com/office/drawing/2014/main" id="{C09310EA-DB0A-4648-A65E-08A2B7B5237D}"/>
                </a:ext>
              </a:extLst>
            </p:cNvPr>
            <p:cNvSpPr/>
            <p:nvPr/>
          </p:nvSpPr>
          <p:spPr>
            <a:xfrm>
              <a:off x="6426613" y="5441170"/>
              <a:ext cx="127783" cy="149899"/>
            </a:xfrm>
            <a:custGeom>
              <a:avLst/>
              <a:gdLst>
                <a:gd name="connsiteX0" fmla="*/ 52465 w 127782"/>
                <a:gd name="connsiteY0" fmla="*/ 135769 h 149899"/>
                <a:gd name="connsiteX1" fmla="*/ 52465 w 127782"/>
                <a:gd name="connsiteY1" fmla="*/ 77038 h 149899"/>
                <a:gd name="connsiteX2" fmla="*/ 127660 w 127782"/>
                <a:gd name="connsiteY2" fmla="*/ 1843 h 149899"/>
                <a:gd name="connsiteX3" fmla="*/ 77038 w 127782"/>
                <a:gd name="connsiteY3" fmla="*/ 1843 h 149899"/>
                <a:gd name="connsiteX4" fmla="*/ 1843 w 127782"/>
                <a:gd name="connsiteY4" fmla="*/ 77038 h 149899"/>
                <a:gd name="connsiteX5" fmla="*/ 1843 w 127782"/>
                <a:gd name="connsiteY5" fmla="*/ 135769 h 149899"/>
                <a:gd name="connsiteX6" fmla="*/ 14621 w 127782"/>
                <a:gd name="connsiteY6" fmla="*/ 148548 h 149899"/>
                <a:gd name="connsiteX7" fmla="*/ 65243 w 127782"/>
                <a:gd name="connsiteY7" fmla="*/ 148548 h 149899"/>
                <a:gd name="connsiteX8" fmla="*/ 52465 w 127782"/>
                <a:gd name="connsiteY8" fmla="*/ 135769 h 149899"/>
                <a:gd name="connsiteX9" fmla="*/ 52465 w 127782"/>
                <a:gd name="connsiteY9" fmla="*/ 135769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82" h="149899">
                  <a:moveTo>
                    <a:pt x="52465" y="135769"/>
                  </a:moveTo>
                  <a:lnTo>
                    <a:pt x="52465" y="77038"/>
                  </a:lnTo>
                  <a:cubicBezTo>
                    <a:pt x="52465" y="35755"/>
                    <a:pt x="86376" y="1843"/>
                    <a:pt x="127660" y="1843"/>
                  </a:cubicBezTo>
                  <a:lnTo>
                    <a:pt x="77038" y="1843"/>
                  </a:lnTo>
                  <a:cubicBezTo>
                    <a:pt x="35755" y="1843"/>
                    <a:pt x="1843" y="35755"/>
                    <a:pt x="1843" y="77038"/>
                  </a:cubicBezTo>
                  <a:lnTo>
                    <a:pt x="1843" y="135769"/>
                  </a:lnTo>
                  <a:cubicBezTo>
                    <a:pt x="1843" y="142896"/>
                    <a:pt x="7495" y="148548"/>
                    <a:pt x="14621" y="148548"/>
                  </a:cubicBezTo>
                  <a:lnTo>
                    <a:pt x="65243" y="148548"/>
                  </a:lnTo>
                  <a:cubicBezTo>
                    <a:pt x="58117" y="148548"/>
                    <a:pt x="52465" y="142896"/>
                    <a:pt x="52465" y="135769"/>
                  </a:cubicBezTo>
                  <a:lnTo>
                    <a:pt x="52465" y="135769"/>
                  </a:lnTo>
                  <a:close/>
                </a:path>
              </a:pathLst>
            </a:custGeom>
            <a:solidFill>
              <a:srgbClr val="EE5253"/>
            </a:solidFill>
            <a:ln w="9525" cap="flat">
              <a:noFill/>
              <a:prstDash val="solid"/>
              <a:miter/>
            </a:ln>
          </p:spPr>
          <p:txBody>
            <a:bodyPr rtlCol="0" anchor="ctr"/>
            <a:lstStyle/>
            <a:p>
              <a:endParaRPr lang="en-US" sz="1568"/>
            </a:p>
          </p:txBody>
        </p:sp>
        <p:sp>
          <p:nvSpPr>
            <p:cNvPr id="25" name="Freeform: Shape 24">
              <a:extLst>
                <a:ext uri="{FF2B5EF4-FFF2-40B4-BE49-F238E27FC236}">
                  <a16:creationId xmlns:a16="http://schemas.microsoft.com/office/drawing/2014/main" id="{E6951E93-A0B6-4D6C-A55C-9D6E53022F4F}"/>
                </a:ext>
              </a:extLst>
            </p:cNvPr>
            <p:cNvSpPr/>
            <p:nvPr/>
          </p:nvSpPr>
          <p:spPr>
            <a:xfrm>
              <a:off x="6579707" y="5494741"/>
              <a:ext cx="41775" cy="95837"/>
            </a:xfrm>
            <a:custGeom>
              <a:avLst/>
              <a:gdLst>
                <a:gd name="connsiteX0" fmla="*/ 39686 w 41775"/>
                <a:gd name="connsiteY0" fmla="*/ 20765 h 95837"/>
                <a:gd name="connsiteX1" fmla="*/ 20765 w 41775"/>
                <a:gd name="connsiteY1" fmla="*/ 1843 h 95837"/>
                <a:gd name="connsiteX2" fmla="*/ 1843 w 41775"/>
                <a:gd name="connsiteY2" fmla="*/ 20765 h 95837"/>
                <a:gd name="connsiteX3" fmla="*/ 1843 w 41775"/>
                <a:gd name="connsiteY3" fmla="*/ 94977 h 95837"/>
                <a:gd name="connsiteX4" fmla="*/ 39932 w 41775"/>
                <a:gd name="connsiteY4" fmla="*/ 94977 h 95837"/>
                <a:gd name="connsiteX5" fmla="*/ 39932 w 41775"/>
                <a:gd name="connsiteY5" fmla="*/ 20765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775" h="95837">
                  <a:moveTo>
                    <a:pt x="39686" y="20765"/>
                  </a:moveTo>
                  <a:cubicBezTo>
                    <a:pt x="39686" y="10198"/>
                    <a:pt x="31086" y="1843"/>
                    <a:pt x="20765" y="1843"/>
                  </a:cubicBezTo>
                  <a:cubicBezTo>
                    <a:pt x="10198" y="1843"/>
                    <a:pt x="1843" y="10444"/>
                    <a:pt x="1843" y="20765"/>
                  </a:cubicBezTo>
                  <a:lnTo>
                    <a:pt x="1843" y="94977"/>
                  </a:lnTo>
                  <a:lnTo>
                    <a:pt x="39932" y="94977"/>
                  </a:lnTo>
                  <a:lnTo>
                    <a:pt x="39932" y="20765"/>
                  </a:lnTo>
                  <a:close/>
                </a:path>
              </a:pathLst>
            </a:custGeom>
            <a:solidFill>
              <a:srgbClr val="EE5253"/>
            </a:solidFill>
            <a:ln w="9525" cap="flat">
              <a:noFill/>
              <a:prstDash val="solid"/>
              <a:miter/>
            </a:ln>
          </p:spPr>
          <p:txBody>
            <a:bodyPr rtlCol="0" anchor="ctr"/>
            <a:lstStyle/>
            <a:p>
              <a:endParaRPr lang="en-US" sz="1568"/>
            </a:p>
          </p:txBody>
        </p:sp>
        <p:sp>
          <p:nvSpPr>
            <p:cNvPr id="26" name="Freeform: Shape 25">
              <a:extLst>
                <a:ext uri="{FF2B5EF4-FFF2-40B4-BE49-F238E27FC236}">
                  <a16:creationId xmlns:a16="http://schemas.microsoft.com/office/drawing/2014/main" id="{E5E74AD5-F14F-4A67-89F6-6E16E13A13CC}"/>
                </a:ext>
              </a:extLst>
            </p:cNvPr>
            <p:cNvSpPr/>
            <p:nvPr/>
          </p:nvSpPr>
          <p:spPr>
            <a:xfrm>
              <a:off x="6465440" y="5494741"/>
              <a:ext cx="39318" cy="95837"/>
            </a:xfrm>
            <a:custGeom>
              <a:avLst/>
              <a:gdLst>
                <a:gd name="connsiteX0" fmla="*/ 39686 w 39317"/>
                <a:gd name="connsiteY0" fmla="*/ 94977 h 95837"/>
                <a:gd name="connsiteX1" fmla="*/ 39686 w 39317"/>
                <a:gd name="connsiteY1" fmla="*/ 20765 h 95837"/>
                <a:gd name="connsiteX2" fmla="*/ 20765 w 39317"/>
                <a:gd name="connsiteY2" fmla="*/ 1843 h 95837"/>
                <a:gd name="connsiteX3" fmla="*/ 1843 w 39317"/>
                <a:gd name="connsiteY3" fmla="*/ 20765 h 95837"/>
                <a:gd name="connsiteX4" fmla="*/ 1843 w 39317"/>
                <a:gd name="connsiteY4" fmla="*/ 94977 h 95837"/>
                <a:gd name="connsiteX5" fmla="*/ 39686 w 39317"/>
                <a:gd name="connsiteY5" fmla="*/ 94977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17" h="95837">
                  <a:moveTo>
                    <a:pt x="39686" y="94977"/>
                  </a:moveTo>
                  <a:lnTo>
                    <a:pt x="39686" y="20765"/>
                  </a:lnTo>
                  <a:cubicBezTo>
                    <a:pt x="39686" y="10198"/>
                    <a:pt x="31086" y="1843"/>
                    <a:pt x="20765" y="1843"/>
                  </a:cubicBezTo>
                  <a:cubicBezTo>
                    <a:pt x="10198" y="1843"/>
                    <a:pt x="1843" y="10444"/>
                    <a:pt x="1843" y="20765"/>
                  </a:cubicBezTo>
                  <a:lnTo>
                    <a:pt x="1843" y="94977"/>
                  </a:lnTo>
                  <a:lnTo>
                    <a:pt x="39686" y="94977"/>
                  </a:lnTo>
                  <a:close/>
                </a:path>
              </a:pathLst>
            </a:custGeom>
            <a:solidFill>
              <a:srgbClr val="EE5253"/>
            </a:solidFill>
            <a:ln w="9525" cap="flat">
              <a:noFill/>
              <a:prstDash val="solid"/>
              <a:miter/>
            </a:ln>
          </p:spPr>
          <p:txBody>
            <a:bodyPr rtlCol="0" anchor="ctr"/>
            <a:lstStyle/>
            <a:p>
              <a:endParaRPr lang="en-US" sz="1568"/>
            </a:p>
          </p:txBody>
        </p:sp>
        <p:sp>
          <p:nvSpPr>
            <p:cNvPr id="27" name="Freeform: Shape 26">
              <a:extLst>
                <a:ext uri="{FF2B5EF4-FFF2-40B4-BE49-F238E27FC236}">
                  <a16:creationId xmlns:a16="http://schemas.microsoft.com/office/drawing/2014/main" id="{BDD779C9-28C3-408C-89CB-062D53733366}"/>
                </a:ext>
              </a:extLst>
            </p:cNvPr>
            <p:cNvSpPr/>
            <p:nvPr/>
          </p:nvSpPr>
          <p:spPr>
            <a:xfrm>
              <a:off x="5624284" y="5300609"/>
              <a:ext cx="142527" cy="142527"/>
            </a:xfrm>
            <a:custGeom>
              <a:avLst/>
              <a:gdLst>
                <a:gd name="connsiteX0" fmla="*/ 142404 w 142527"/>
                <a:gd name="connsiteY0" fmla="*/ 72124 h 142527"/>
                <a:gd name="connsiteX1" fmla="*/ 72124 w 142527"/>
                <a:gd name="connsiteY1" fmla="*/ 142158 h 142527"/>
                <a:gd name="connsiteX2" fmla="*/ 1843 w 142527"/>
                <a:gd name="connsiteY2" fmla="*/ 72124 h 142527"/>
                <a:gd name="connsiteX3" fmla="*/ 72124 w 142527"/>
                <a:gd name="connsiteY3" fmla="*/ 1843 h 142527"/>
                <a:gd name="connsiteX4" fmla="*/ 142404 w 142527"/>
                <a:gd name="connsiteY4" fmla="*/ 72124 h 142527"/>
                <a:gd name="connsiteX5" fmla="*/ 142404 w 142527"/>
                <a:gd name="connsiteY5"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527" h="142527">
                  <a:moveTo>
                    <a:pt x="142404" y="72124"/>
                  </a:moveTo>
                  <a:cubicBezTo>
                    <a:pt x="142404" y="110950"/>
                    <a:pt x="110950" y="142158"/>
                    <a:pt x="72124" y="142158"/>
                  </a:cubicBezTo>
                  <a:cubicBezTo>
                    <a:pt x="33297" y="142158"/>
                    <a:pt x="1843" y="110704"/>
                    <a:pt x="1843" y="72124"/>
                  </a:cubicBezTo>
                  <a:cubicBezTo>
                    <a:pt x="1843" y="33297"/>
                    <a:pt x="33297" y="1843"/>
                    <a:pt x="72124" y="1843"/>
                  </a:cubicBezTo>
                  <a:cubicBezTo>
                    <a:pt x="110950" y="1843"/>
                    <a:pt x="142404" y="33543"/>
                    <a:pt x="142404" y="72124"/>
                  </a:cubicBezTo>
                  <a:lnTo>
                    <a:pt x="142404" y="72124"/>
                  </a:lnTo>
                  <a:close/>
                </a:path>
              </a:pathLst>
            </a:custGeom>
            <a:solidFill>
              <a:srgbClr val="FFCDBF"/>
            </a:solidFill>
            <a:ln w="9525" cap="flat">
              <a:noFill/>
              <a:prstDash val="solid"/>
              <a:miter/>
            </a:ln>
          </p:spPr>
          <p:txBody>
            <a:bodyPr rtlCol="0" anchor="ctr"/>
            <a:lstStyle/>
            <a:p>
              <a:endParaRPr lang="en-US" sz="1568"/>
            </a:p>
          </p:txBody>
        </p:sp>
        <p:sp>
          <p:nvSpPr>
            <p:cNvPr id="28" name="Freeform: Shape 27">
              <a:extLst>
                <a:ext uri="{FF2B5EF4-FFF2-40B4-BE49-F238E27FC236}">
                  <a16:creationId xmlns:a16="http://schemas.microsoft.com/office/drawing/2014/main" id="{5C3DB338-B08D-4C3D-8E02-12DF0AC13236}"/>
                </a:ext>
              </a:extLst>
            </p:cNvPr>
            <p:cNvSpPr/>
            <p:nvPr/>
          </p:nvSpPr>
          <p:spPr>
            <a:xfrm>
              <a:off x="5579806" y="5441170"/>
              <a:ext cx="233449" cy="149899"/>
            </a:xfrm>
            <a:custGeom>
              <a:avLst/>
              <a:gdLst>
                <a:gd name="connsiteX0" fmla="*/ 156411 w 233449"/>
                <a:gd name="connsiteY0" fmla="*/ 1843 h 149899"/>
                <a:gd name="connsiteX1" fmla="*/ 77038 w 233449"/>
                <a:gd name="connsiteY1" fmla="*/ 1843 h 149899"/>
                <a:gd name="connsiteX2" fmla="*/ 1843 w 233449"/>
                <a:gd name="connsiteY2" fmla="*/ 77038 h 149899"/>
                <a:gd name="connsiteX3" fmla="*/ 1843 w 233449"/>
                <a:gd name="connsiteY3" fmla="*/ 135769 h 149899"/>
                <a:gd name="connsiteX4" fmla="*/ 14621 w 233449"/>
                <a:gd name="connsiteY4" fmla="*/ 148548 h 149899"/>
                <a:gd name="connsiteX5" fmla="*/ 218828 w 233449"/>
                <a:gd name="connsiteY5" fmla="*/ 148548 h 149899"/>
                <a:gd name="connsiteX6" fmla="*/ 231606 w 233449"/>
                <a:gd name="connsiteY6" fmla="*/ 135769 h 149899"/>
                <a:gd name="connsiteX7" fmla="*/ 231606 w 233449"/>
                <a:gd name="connsiteY7" fmla="*/ 77038 h 149899"/>
                <a:gd name="connsiteX8" fmla="*/ 156411 w 233449"/>
                <a:gd name="connsiteY8" fmla="*/ 1843 h 149899"/>
                <a:gd name="connsiteX9" fmla="*/ 156411 w 233449"/>
                <a:gd name="connsiteY9" fmla="*/ 1843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3449" h="149899">
                  <a:moveTo>
                    <a:pt x="156411" y="1843"/>
                  </a:moveTo>
                  <a:lnTo>
                    <a:pt x="77038" y="1843"/>
                  </a:lnTo>
                  <a:cubicBezTo>
                    <a:pt x="35755" y="1843"/>
                    <a:pt x="1843" y="35509"/>
                    <a:pt x="1843" y="77038"/>
                  </a:cubicBezTo>
                  <a:lnTo>
                    <a:pt x="1843" y="135769"/>
                  </a:lnTo>
                  <a:cubicBezTo>
                    <a:pt x="1843" y="142896"/>
                    <a:pt x="7495" y="148548"/>
                    <a:pt x="14621" y="148548"/>
                  </a:cubicBezTo>
                  <a:lnTo>
                    <a:pt x="218828" y="148548"/>
                  </a:lnTo>
                  <a:cubicBezTo>
                    <a:pt x="225955" y="148548"/>
                    <a:pt x="231606" y="142896"/>
                    <a:pt x="231606" y="135769"/>
                  </a:cubicBezTo>
                  <a:lnTo>
                    <a:pt x="231606" y="77038"/>
                  </a:lnTo>
                  <a:cubicBezTo>
                    <a:pt x="231606" y="35509"/>
                    <a:pt x="197695" y="1843"/>
                    <a:pt x="156411" y="1843"/>
                  </a:cubicBezTo>
                  <a:lnTo>
                    <a:pt x="156411" y="1843"/>
                  </a:lnTo>
                  <a:close/>
                </a:path>
              </a:pathLst>
            </a:custGeom>
            <a:solidFill>
              <a:srgbClr val="FF6B6B"/>
            </a:solidFill>
            <a:ln w="9525" cap="flat">
              <a:noFill/>
              <a:prstDash val="solid"/>
              <a:miter/>
            </a:ln>
          </p:spPr>
          <p:txBody>
            <a:bodyPr rtlCol="0" anchor="ctr"/>
            <a:lstStyle/>
            <a:p>
              <a:endParaRPr lang="en-US" sz="1568"/>
            </a:p>
          </p:txBody>
        </p:sp>
        <p:sp>
          <p:nvSpPr>
            <p:cNvPr id="29" name="Freeform: Shape 28">
              <a:extLst>
                <a:ext uri="{FF2B5EF4-FFF2-40B4-BE49-F238E27FC236}">
                  <a16:creationId xmlns:a16="http://schemas.microsoft.com/office/drawing/2014/main" id="{BD1CBD7B-F69B-4F7D-A9A2-53320D44C104}"/>
                </a:ext>
              </a:extLst>
            </p:cNvPr>
            <p:cNvSpPr/>
            <p:nvPr/>
          </p:nvSpPr>
          <p:spPr>
            <a:xfrm>
              <a:off x="5579806" y="5441170"/>
              <a:ext cx="127783" cy="149899"/>
            </a:xfrm>
            <a:custGeom>
              <a:avLst/>
              <a:gdLst>
                <a:gd name="connsiteX0" fmla="*/ 52465 w 127782"/>
                <a:gd name="connsiteY0" fmla="*/ 135769 h 149899"/>
                <a:gd name="connsiteX1" fmla="*/ 52465 w 127782"/>
                <a:gd name="connsiteY1" fmla="*/ 77038 h 149899"/>
                <a:gd name="connsiteX2" fmla="*/ 127660 w 127782"/>
                <a:gd name="connsiteY2" fmla="*/ 1843 h 149899"/>
                <a:gd name="connsiteX3" fmla="*/ 77038 w 127782"/>
                <a:gd name="connsiteY3" fmla="*/ 1843 h 149899"/>
                <a:gd name="connsiteX4" fmla="*/ 1843 w 127782"/>
                <a:gd name="connsiteY4" fmla="*/ 77038 h 149899"/>
                <a:gd name="connsiteX5" fmla="*/ 1843 w 127782"/>
                <a:gd name="connsiteY5" fmla="*/ 135769 h 149899"/>
                <a:gd name="connsiteX6" fmla="*/ 14621 w 127782"/>
                <a:gd name="connsiteY6" fmla="*/ 148548 h 149899"/>
                <a:gd name="connsiteX7" fmla="*/ 65243 w 127782"/>
                <a:gd name="connsiteY7" fmla="*/ 148548 h 149899"/>
                <a:gd name="connsiteX8" fmla="*/ 52465 w 127782"/>
                <a:gd name="connsiteY8" fmla="*/ 135769 h 149899"/>
                <a:gd name="connsiteX9" fmla="*/ 52465 w 127782"/>
                <a:gd name="connsiteY9" fmla="*/ 135769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82" h="149899">
                  <a:moveTo>
                    <a:pt x="52465" y="135769"/>
                  </a:moveTo>
                  <a:lnTo>
                    <a:pt x="52465" y="77038"/>
                  </a:lnTo>
                  <a:cubicBezTo>
                    <a:pt x="52465" y="35755"/>
                    <a:pt x="86376" y="1843"/>
                    <a:pt x="127660" y="1843"/>
                  </a:cubicBezTo>
                  <a:lnTo>
                    <a:pt x="77038" y="1843"/>
                  </a:lnTo>
                  <a:cubicBezTo>
                    <a:pt x="35755" y="1843"/>
                    <a:pt x="1843" y="35509"/>
                    <a:pt x="1843" y="77038"/>
                  </a:cubicBezTo>
                  <a:lnTo>
                    <a:pt x="1843" y="135769"/>
                  </a:lnTo>
                  <a:cubicBezTo>
                    <a:pt x="1843" y="142896"/>
                    <a:pt x="7495" y="148548"/>
                    <a:pt x="14621" y="148548"/>
                  </a:cubicBezTo>
                  <a:lnTo>
                    <a:pt x="65243" y="148548"/>
                  </a:lnTo>
                  <a:cubicBezTo>
                    <a:pt x="58117" y="148548"/>
                    <a:pt x="52465" y="142896"/>
                    <a:pt x="52465" y="135769"/>
                  </a:cubicBezTo>
                  <a:lnTo>
                    <a:pt x="52465" y="135769"/>
                  </a:lnTo>
                  <a:close/>
                </a:path>
              </a:pathLst>
            </a:custGeom>
            <a:solidFill>
              <a:srgbClr val="EE5253"/>
            </a:solidFill>
            <a:ln w="9525" cap="flat">
              <a:noFill/>
              <a:prstDash val="solid"/>
              <a:miter/>
            </a:ln>
          </p:spPr>
          <p:txBody>
            <a:bodyPr rtlCol="0" anchor="ctr"/>
            <a:lstStyle/>
            <a:p>
              <a:endParaRPr lang="en-US" sz="1568"/>
            </a:p>
          </p:txBody>
        </p:sp>
        <p:sp>
          <p:nvSpPr>
            <p:cNvPr id="30" name="Freeform: Shape 29">
              <a:extLst>
                <a:ext uri="{FF2B5EF4-FFF2-40B4-BE49-F238E27FC236}">
                  <a16:creationId xmlns:a16="http://schemas.microsoft.com/office/drawing/2014/main" id="{14AC3C4F-66E5-466F-95A3-6AC5867EFC58}"/>
                </a:ext>
              </a:extLst>
            </p:cNvPr>
            <p:cNvSpPr/>
            <p:nvPr/>
          </p:nvSpPr>
          <p:spPr>
            <a:xfrm>
              <a:off x="5732900" y="5494741"/>
              <a:ext cx="41775" cy="95837"/>
            </a:xfrm>
            <a:custGeom>
              <a:avLst/>
              <a:gdLst>
                <a:gd name="connsiteX0" fmla="*/ 39686 w 41775"/>
                <a:gd name="connsiteY0" fmla="*/ 20765 h 95837"/>
                <a:gd name="connsiteX1" fmla="*/ 20765 w 41775"/>
                <a:gd name="connsiteY1" fmla="*/ 1843 h 95837"/>
                <a:gd name="connsiteX2" fmla="*/ 1843 w 41775"/>
                <a:gd name="connsiteY2" fmla="*/ 20765 h 95837"/>
                <a:gd name="connsiteX3" fmla="*/ 1843 w 41775"/>
                <a:gd name="connsiteY3" fmla="*/ 94977 h 95837"/>
                <a:gd name="connsiteX4" fmla="*/ 39932 w 41775"/>
                <a:gd name="connsiteY4" fmla="*/ 94977 h 95837"/>
                <a:gd name="connsiteX5" fmla="*/ 39932 w 41775"/>
                <a:gd name="connsiteY5" fmla="*/ 20765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775" h="95837">
                  <a:moveTo>
                    <a:pt x="39686" y="20765"/>
                  </a:moveTo>
                  <a:cubicBezTo>
                    <a:pt x="39686" y="10198"/>
                    <a:pt x="31086" y="1843"/>
                    <a:pt x="20765" y="1843"/>
                  </a:cubicBezTo>
                  <a:cubicBezTo>
                    <a:pt x="10198" y="1843"/>
                    <a:pt x="1843" y="10444"/>
                    <a:pt x="1843" y="20765"/>
                  </a:cubicBezTo>
                  <a:lnTo>
                    <a:pt x="1843" y="94977"/>
                  </a:lnTo>
                  <a:lnTo>
                    <a:pt x="39932" y="94977"/>
                  </a:lnTo>
                  <a:lnTo>
                    <a:pt x="39932" y="20765"/>
                  </a:lnTo>
                  <a:close/>
                </a:path>
              </a:pathLst>
            </a:custGeom>
            <a:solidFill>
              <a:srgbClr val="EE5253"/>
            </a:solidFill>
            <a:ln w="9525" cap="flat">
              <a:noFill/>
              <a:prstDash val="solid"/>
              <a:miter/>
            </a:ln>
          </p:spPr>
          <p:txBody>
            <a:bodyPr rtlCol="0" anchor="ctr"/>
            <a:lstStyle/>
            <a:p>
              <a:endParaRPr lang="en-US" sz="1568"/>
            </a:p>
          </p:txBody>
        </p:sp>
        <p:sp>
          <p:nvSpPr>
            <p:cNvPr id="31" name="Freeform: Shape 30">
              <a:extLst>
                <a:ext uri="{FF2B5EF4-FFF2-40B4-BE49-F238E27FC236}">
                  <a16:creationId xmlns:a16="http://schemas.microsoft.com/office/drawing/2014/main" id="{D02DD930-AE14-4738-915C-900132975304}"/>
                </a:ext>
              </a:extLst>
            </p:cNvPr>
            <p:cNvSpPr/>
            <p:nvPr/>
          </p:nvSpPr>
          <p:spPr>
            <a:xfrm>
              <a:off x="5618632" y="5494741"/>
              <a:ext cx="39318" cy="95837"/>
            </a:xfrm>
            <a:custGeom>
              <a:avLst/>
              <a:gdLst>
                <a:gd name="connsiteX0" fmla="*/ 39686 w 39317"/>
                <a:gd name="connsiteY0" fmla="*/ 94977 h 95837"/>
                <a:gd name="connsiteX1" fmla="*/ 39686 w 39317"/>
                <a:gd name="connsiteY1" fmla="*/ 20765 h 95837"/>
                <a:gd name="connsiteX2" fmla="*/ 20765 w 39317"/>
                <a:gd name="connsiteY2" fmla="*/ 1843 h 95837"/>
                <a:gd name="connsiteX3" fmla="*/ 1843 w 39317"/>
                <a:gd name="connsiteY3" fmla="*/ 20765 h 95837"/>
                <a:gd name="connsiteX4" fmla="*/ 1843 w 39317"/>
                <a:gd name="connsiteY4" fmla="*/ 94977 h 95837"/>
                <a:gd name="connsiteX5" fmla="*/ 39686 w 39317"/>
                <a:gd name="connsiteY5" fmla="*/ 94977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17" h="95837">
                  <a:moveTo>
                    <a:pt x="39686" y="94977"/>
                  </a:moveTo>
                  <a:lnTo>
                    <a:pt x="39686" y="20765"/>
                  </a:lnTo>
                  <a:cubicBezTo>
                    <a:pt x="39686" y="10198"/>
                    <a:pt x="31086" y="1843"/>
                    <a:pt x="20765" y="1843"/>
                  </a:cubicBezTo>
                  <a:cubicBezTo>
                    <a:pt x="10198" y="1843"/>
                    <a:pt x="1843" y="10444"/>
                    <a:pt x="1843" y="20765"/>
                  </a:cubicBezTo>
                  <a:lnTo>
                    <a:pt x="1843" y="94977"/>
                  </a:lnTo>
                  <a:lnTo>
                    <a:pt x="39686" y="94977"/>
                  </a:lnTo>
                  <a:close/>
                </a:path>
              </a:pathLst>
            </a:custGeom>
            <a:solidFill>
              <a:srgbClr val="EE5253"/>
            </a:solidFill>
            <a:ln w="9525" cap="flat">
              <a:noFill/>
              <a:prstDash val="solid"/>
              <a:miter/>
            </a:ln>
          </p:spPr>
          <p:txBody>
            <a:bodyPr rtlCol="0" anchor="ctr"/>
            <a:lstStyle/>
            <a:p>
              <a:endParaRPr lang="en-US" sz="1568"/>
            </a:p>
          </p:txBody>
        </p:sp>
        <p:sp>
          <p:nvSpPr>
            <p:cNvPr id="32" name="Freeform: Shape 31">
              <a:extLst>
                <a:ext uri="{FF2B5EF4-FFF2-40B4-BE49-F238E27FC236}">
                  <a16:creationId xmlns:a16="http://schemas.microsoft.com/office/drawing/2014/main" id="{061E1376-C031-43AC-90F7-87A478DB52FF}"/>
                </a:ext>
              </a:extLst>
            </p:cNvPr>
            <p:cNvSpPr/>
            <p:nvPr/>
          </p:nvSpPr>
          <p:spPr>
            <a:xfrm>
              <a:off x="6471092" y="4858775"/>
              <a:ext cx="142527" cy="142527"/>
            </a:xfrm>
            <a:custGeom>
              <a:avLst/>
              <a:gdLst>
                <a:gd name="connsiteX0" fmla="*/ 142404 w 142527"/>
                <a:gd name="connsiteY0" fmla="*/ 72124 h 142527"/>
                <a:gd name="connsiteX1" fmla="*/ 72124 w 142527"/>
                <a:gd name="connsiteY1" fmla="*/ 142404 h 142527"/>
                <a:gd name="connsiteX2" fmla="*/ 1843 w 142527"/>
                <a:gd name="connsiteY2" fmla="*/ 72124 h 142527"/>
                <a:gd name="connsiteX3" fmla="*/ 72124 w 142527"/>
                <a:gd name="connsiteY3" fmla="*/ 1843 h 142527"/>
                <a:gd name="connsiteX4" fmla="*/ 142404 w 142527"/>
                <a:gd name="connsiteY4" fmla="*/ 72124 h 142527"/>
                <a:gd name="connsiteX5" fmla="*/ 142404 w 142527"/>
                <a:gd name="connsiteY5"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527" h="142527">
                  <a:moveTo>
                    <a:pt x="142404" y="72124"/>
                  </a:moveTo>
                  <a:cubicBezTo>
                    <a:pt x="142404" y="110950"/>
                    <a:pt x="110950" y="142404"/>
                    <a:pt x="72124" y="142404"/>
                  </a:cubicBezTo>
                  <a:cubicBezTo>
                    <a:pt x="33297" y="142404"/>
                    <a:pt x="1843" y="110950"/>
                    <a:pt x="1843" y="72124"/>
                  </a:cubicBezTo>
                  <a:cubicBezTo>
                    <a:pt x="1843" y="33297"/>
                    <a:pt x="33297" y="1843"/>
                    <a:pt x="72124" y="1843"/>
                  </a:cubicBezTo>
                  <a:cubicBezTo>
                    <a:pt x="110950" y="2089"/>
                    <a:pt x="142404" y="33543"/>
                    <a:pt x="142404" y="72124"/>
                  </a:cubicBezTo>
                  <a:lnTo>
                    <a:pt x="142404" y="72124"/>
                  </a:lnTo>
                  <a:close/>
                </a:path>
              </a:pathLst>
            </a:custGeom>
            <a:solidFill>
              <a:srgbClr val="FFCDBF"/>
            </a:solidFill>
            <a:ln w="9525" cap="flat">
              <a:noFill/>
              <a:prstDash val="solid"/>
              <a:miter/>
            </a:ln>
          </p:spPr>
          <p:txBody>
            <a:bodyPr rtlCol="0" anchor="ctr"/>
            <a:lstStyle/>
            <a:p>
              <a:endParaRPr lang="en-US" sz="1568"/>
            </a:p>
          </p:txBody>
        </p:sp>
        <p:sp>
          <p:nvSpPr>
            <p:cNvPr id="33" name="Freeform: Shape 32">
              <a:extLst>
                <a:ext uri="{FF2B5EF4-FFF2-40B4-BE49-F238E27FC236}">
                  <a16:creationId xmlns:a16="http://schemas.microsoft.com/office/drawing/2014/main" id="{BA065FE3-B95C-4BE7-AB7C-39D6EDC060A4}"/>
                </a:ext>
              </a:extLst>
            </p:cNvPr>
            <p:cNvSpPr/>
            <p:nvPr/>
          </p:nvSpPr>
          <p:spPr>
            <a:xfrm>
              <a:off x="6426613" y="4999336"/>
              <a:ext cx="233449" cy="149899"/>
            </a:xfrm>
            <a:custGeom>
              <a:avLst/>
              <a:gdLst>
                <a:gd name="connsiteX0" fmla="*/ 156411 w 233449"/>
                <a:gd name="connsiteY0" fmla="*/ 1843 h 149899"/>
                <a:gd name="connsiteX1" fmla="*/ 77038 w 233449"/>
                <a:gd name="connsiteY1" fmla="*/ 1843 h 149899"/>
                <a:gd name="connsiteX2" fmla="*/ 1843 w 233449"/>
                <a:gd name="connsiteY2" fmla="*/ 77038 h 149899"/>
                <a:gd name="connsiteX3" fmla="*/ 1843 w 233449"/>
                <a:gd name="connsiteY3" fmla="*/ 135769 h 149899"/>
                <a:gd name="connsiteX4" fmla="*/ 14621 w 233449"/>
                <a:gd name="connsiteY4" fmla="*/ 148548 h 149899"/>
                <a:gd name="connsiteX5" fmla="*/ 218828 w 233449"/>
                <a:gd name="connsiteY5" fmla="*/ 148548 h 149899"/>
                <a:gd name="connsiteX6" fmla="*/ 231606 w 233449"/>
                <a:gd name="connsiteY6" fmla="*/ 135769 h 149899"/>
                <a:gd name="connsiteX7" fmla="*/ 231606 w 233449"/>
                <a:gd name="connsiteY7" fmla="*/ 77038 h 149899"/>
                <a:gd name="connsiteX8" fmla="*/ 156411 w 233449"/>
                <a:gd name="connsiteY8" fmla="*/ 1843 h 149899"/>
                <a:gd name="connsiteX9" fmla="*/ 156411 w 233449"/>
                <a:gd name="connsiteY9" fmla="*/ 1843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3449" h="149899">
                  <a:moveTo>
                    <a:pt x="156411" y="1843"/>
                  </a:moveTo>
                  <a:lnTo>
                    <a:pt x="77038" y="1843"/>
                  </a:lnTo>
                  <a:cubicBezTo>
                    <a:pt x="35755" y="1843"/>
                    <a:pt x="1843" y="35755"/>
                    <a:pt x="1843" y="77038"/>
                  </a:cubicBezTo>
                  <a:lnTo>
                    <a:pt x="1843" y="135769"/>
                  </a:lnTo>
                  <a:cubicBezTo>
                    <a:pt x="1843" y="142896"/>
                    <a:pt x="7495" y="148548"/>
                    <a:pt x="14621" y="148548"/>
                  </a:cubicBezTo>
                  <a:lnTo>
                    <a:pt x="218828" y="148548"/>
                  </a:lnTo>
                  <a:cubicBezTo>
                    <a:pt x="225954" y="148548"/>
                    <a:pt x="231606" y="142896"/>
                    <a:pt x="231606" y="135769"/>
                  </a:cubicBezTo>
                  <a:lnTo>
                    <a:pt x="231606" y="77038"/>
                  </a:lnTo>
                  <a:cubicBezTo>
                    <a:pt x="231606" y="35755"/>
                    <a:pt x="197695" y="1843"/>
                    <a:pt x="156411" y="1843"/>
                  </a:cubicBezTo>
                  <a:lnTo>
                    <a:pt x="156411" y="1843"/>
                  </a:lnTo>
                  <a:close/>
                </a:path>
              </a:pathLst>
            </a:custGeom>
            <a:solidFill>
              <a:srgbClr val="FF6B6B"/>
            </a:solidFill>
            <a:ln w="9525" cap="flat">
              <a:noFill/>
              <a:prstDash val="solid"/>
              <a:miter/>
            </a:ln>
          </p:spPr>
          <p:txBody>
            <a:bodyPr rtlCol="0" anchor="ctr"/>
            <a:lstStyle/>
            <a:p>
              <a:endParaRPr lang="en-US" sz="1568"/>
            </a:p>
          </p:txBody>
        </p:sp>
        <p:sp>
          <p:nvSpPr>
            <p:cNvPr id="34" name="Freeform: Shape 33">
              <a:extLst>
                <a:ext uri="{FF2B5EF4-FFF2-40B4-BE49-F238E27FC236}">
                  <a16:creationId xmlns:a16="http://schemas.microsoft.com/office/drawing/2014/main" id="{C2362159-B0A2-41B6-9F43-0157F9D3CE48}"/>
                </a:ext>
              </a:extLst>
            </p:cNvPr>
            <p:cNvSpPr/>
            <p:nvPr/>
          </p:nvSpPr>
          <p:spPr>
            <a:xfrm>
              <a:off x="6426613" y="4999336"/>
              <a:ext cx="127783" cy="149899"/>
            </a:xfrm>
            <a:custGeom>
              <a:avLst/>
              <a:gdLst>
                <a:gd name="connsiteX0" fmla="*/ 52465 w 127782"/>
                <a:gd name="connsiteY0" fmla="*/ 135769 h 149899"/>
                <a:gd name="connsiteX1" fmla="*/ 52465 w 127782"/>
                <a:gd name="connsiteY1" fmla="*/ 77038 h 149899"/>
                <a:gd name="connsiteX2" fmla="*/ 127660 w 127782"/>
                <a:gd name="connsiteY2" fmla="*/ 1843 h 149899"/>
                <a:gd name="connsiteX3" fmla="*/ 77038 w 127782"/>
                <a:gd name="connsiteY3" fmla="*/ 1843 h 149899"/>
                <a:gd name="connsiteX4" fmla="*/ 1843 w 127782"/>
                <a:gd name="connsiteY4" fmla="*/ 77038 h 149899"/>
                <a:gd name="connsiteX5" fmla="*/ 1843 w 127782"/>
                <a:gd name="connsiteY5" fmla="*/ 135769 h 149899"/>
                <a:gd name="connsiteX6" fmla="*/ 14621 w 127782"/>
                <a:gd name="connsiteY6" fmla="*/ 148548 h 149899"/>
                <a:gd name="connsiteX7" fmla="*/ 65243 w 127782"/>
                <a:gd name="connsiteY7" fmla="*/ 148548 h 149899"/>
                <a:gd name="connsiteX8" fmla="*/ 52465 w 127782"/>
                <a:gd name="connsiteY8" fmla="*/ 135769 h 149899"/>
                <a:gd name="connsiteX9" fmla="*/ 52465 w 127782"/>
                <a:gd name="connsiteY9" fmla="*/ 135769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82" h="149899">
                  <a:moveTo>
                    <a:pt x="52465" y="135769"/>
                  </a:moveTo>
                  <a:lnTo>
                    <a:pt x="52465" y="77038"/>
                  </a:lnTo>
                  <a:cubicBezTo>
                    <a:pt x="52465" y="35755"/>
                    <a:pt x="86376" y="1843"/>
                    <a:pt x="127660" y="1843"/>
                  </a:cubicBezTo>
                  <a:lnTo>
                    <a:pt x="77038" y="1843"/>
                  </a:lnTo>
                  <a:cubicBezTo>
                    <a:pt x="35755" y="1843"/>
                    <a:pt x="1843" y="35755"/>
                    <a:pt x="1843" y="77038"/>
                  </a:cubicBezTo>
                  <a:lnTo>
                    <a:pt x="1843" y="135769"/>
                  </a:lnTo>
                  <a:cubicBezTo>
                    <a:pt x="1843" y="142896"/>
                    <a:pt x="7495" y="148548"/>
                    <a:pt x="14621" y="148548"/>
                  </a:cubicBezTo>
                  <a:lnTo>
                    <a:pt x="65243" y="148548"/>
                  </a:lnTo>
                  <a:cubicBezTo>
                    <a:pt x="58117" y="148548"/>
                    <a:pt x="52465" y="142896"/>
                    <a:pt x="52465" y="135769"/>
                  </a:cubicBezTo>
                  <a:lnTo>
                    <a:pt x="52465" y="135769"/>
                  </a:lnTo>
                  <a:close/>
                </a:path>
              </a:pathLst>
            </a:custGeom>
            <a:solidFill>
              <a:srgbClr val="EE5253"/>
            </a:solidFill>
            <a:ln w="9525" cap="flat">
              <a:noFill/>
              <a:prstDash val="solid"/>
              <a:miter/>
            </a:ln>
          </p:spPr>
          <p:txBody>
            <a:bodyPr rtlCol="0" anchor="ctr"/>
            <a:lstStyle/>
            <a:p>
              <a:endParaRPr lang="en-US" sz="1568"/>
            </a:p>
          </p:txBody>
        </p:sp>
        <p:sp>
          <p:nvSpPr>
            <p:cNvPr id="35" name="Freeform: Shape 34">
              <a:extLst>
                <a:ext uri="{FF2B5EF4-FFF2-40B4-BE49-F238E27FC236}">
                  <a16:creationId xmlns:a16="http://schemas.microsoft.com/office/drawing/2014/main" id="{C1969456-0198-4E52-83B5-AA0FD1545ACC}"/>
                </a:ext>
              </a:extLst>
            </p:cNvPr>
            <p:cNvSpPr/>
            <p:nvPr/>
          </p:nvSpPr>
          <p:spPr>
            <a:xfrm>
              <a:off x="6579707" y="5052907"/>
              <a:ext cx="41775" cy="95837"/>
            </a:xfrm>
            <a:custGeom>
              <a:avLst/>
              <a:gdLst>
                <a:gd name="connsiteX0" fmla="*/ 39686 w 41775"/>
                <a:gd name="connsiteY0" fmla="*/ 20765 h 95837"/>
                <a:gd name="connsiteX1" fmla="*/ 20765 w 41775"/>
                <a:gd name="connsiteY1" fmla="*/ 1843 h 95837"/>
                <a:gd name="connsiteX2" fmla="*/ 1843 w 41775"/>
                <a:gd name="connsiteY2" fmla="*/ 20765 h 95837"/>
                <a:gd name="connsiteX3" fmla="*/ 1843 w 41775"/>
                <a:gd name="connsiteY3" fmla="*/ 94977 h 95837"/>
                <a:gd name="connsiteX4" fmla="*/ 39932 w 41775"/>
                <a:gd name="connsiteY4" fmla="*/ 94977 h 95837"/>
                <a:gd name="connsiteX5" fmla="*/ 39932 w 41775"/>
                <a:gd name="connsiteY5" fmla="*/ 20765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775" h="95837">
                  <a:moveTo>
                    <a:pt x="39686" y="20765"/>
                  </a:moveTo>
                  <a:cubicBezTo>
                    <a:pt x="39686" y="10198"/>
                    <a:pt x="31086" y="1843"/>
                    <a:pt x="20765" y="1843"/>
                  </a:cubicBezTo>
                  <a:cubicBezTo>
                    <a:pt x="10198" y="1843"/>
                    <a:pt x="1843" y="10444"/>
                    <a:pt x="1843" y="20765"/>
                  </a:cubicBezTo>
                  <a:lnTo>
                    <a:pt x="1843" y="94977"/>
                  </a:lnTo>
                  <a:lnTo>
                    <a:pt x="39932" y="94977"/>
                  </a:lnTo>
                  <a:lnTo>
                    <a:pt x="39932" y="20765"/>
                  </a:lnTo>
                  <a:close/>
                </a:path>
              </a:pathLst>
            </a:custGeom>
            <a:solidFill>
              <a:srgbClr val="EE5253"/>
            </a:solidFill>
            <a:ln w="9525" cap="flat">
              <a:noFill/>
              <a:prstDash val="solid"/>
              <a:miter/>
            </a:ln>
          </p:spPr>
          <p:txBody>
            <a:bodyPr rtlCol="0" anchor="ctr"/>
            <a:lstStyle/>
            <a:p>
              <a:endParaRPr lang="en-US" sz="1568"/>
            </a:p>
          </p:txBody>
        </p:sp>
        <p:sp>
          <p:nvSpPr>
            <p:cNvPr id="36" name="Freeform: Shape 35">
              <a:extLst>
                <a:ext uri="{FF2B5EF4-FFF2-40B4-BE49-F238E27FC236}">
                  <a16:creationId xmlns:a16="http://schemas.microsoft.com/office/drawing/2014/main" id="{63C7F683-347B-4BBB-BEE2-6A156D20D636}"/>
                </a:ext>
              </a:extLst>
            </p:cNvPr>
            <p:cNvSpPr/>
            <p:nvPr/>
          </p:nvSpPr>
          <p:spPr>
            <a:xfrm>
              <a:off x="6465440" y="5052907"/>
              <a:ext cx="39318" cy="95837"/>
            </a:xfrm>
            <a:custGeom>
              <a:avLst/>
              <a:gdLst>
                <a:gd name="connsiteX0" fmla="*/ 39686 w 39317"/>
                <a:gd name="connsiteY0" fmla="*/ 94977 h 95837"/>
                <a:gd name="connsiteX1" fmla="*/ 39686 w 39317"/>
                <a:gd name="connsiteY1" fmla="*/ 20765 h 95837"/>
                <a:gd name="connsiteX2" fmla="*/ 20765 w 39317"/>
                <a:gd name="connsiteY2" fmla="*/ 1843 h 95837"/>
                <a:gd name="connsiteX3" fmla="*/ 1843 w 39317"/>
                <a:gd name="connsiteY3" fmla="*/ 20765 h 95837"/>
                <a:gd name="connsiteX4" fmla="*/ 1843 w 39317"/>
                <a:gd name="connsiteY4" fmla="*/ 94977 h 95837"/>
                <a:gd name="connsiteX5" fmla="*/ 39686 w 39317"/>
                <a:gd name="connsiteY5" fmla="*/ 94977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17" h="95837">
                  <a:moveTo>
                    <a:pt x="39686" y="94977"/>
                  </a:moveTo>
                  <a:lnTo>
                    <a:pt x="39686" y="20765"/>
                  </a:lnTo>
                  <a:cubicBezTo>
                    <a:pt x="39686" y="10198"/>
                    <a:pt x="31086" y="1843"/>
                    <a:pt x="20765" y="1843"/>
                  </a:cubicBezTo>
                  <a:cubicBezTo>
                    <a:pt x="10198" y="1843"/>
                    <a:pt x="1843" y="10444"/>
                    <a:pt x="1843" y="20765"/>
                  </a:cubicBezTo>
                  <a:lnTo>
                    <a:pt x="1843" y="94977"/>
                  </a:lnTo>
                  <a:lnTo>
                    <a:pt x="39686" y="94977"/>
                  </a:lnTo>
                  <a:close/>
                </a:path>
              </a:pathLst>
            </a:custGeom>
            <a:solidFill>
              <a:srgbClr val="EE5253"/>
            </a:solidFill>
            <a:ln w="9525" cap="flat">
              <a:noFill/>
              <a:prstDash val="solid"/>
              <a:miter/>
            </a:ln>
          </p:spPr>
          <p:txBody>
            <a:bodyPr rtlCol="0" anchor="ctr"/>
            <a:lstStyle/>
            <a:p>
              <a:endParaRPr lang="en-US" sz="1568"/>
            </a:p>
          </p:txBody>
        </p:sp>
        <p:sp>
          <p:nvSpPr>
            <p:cNvPr id="37" name="Freeform: Shape 36">
              <a:extLst>
                <a:ext uri="{FF2B5EF4-FFF2-40B4-BE49-F238E27FC236}">
                  <a16:creationId xmlns:a16="http://schemas.microsoft.com/office/drawing/2014/main" id="{439300DE-FEEC-492F-89E9-06B0827DB907}"/>
                </a:ext>
              </a:extLst>
            </p:cNvPr>
            <p:cNvSpPr/>
            <p:nvPr/>
          </p:nvSpPr>
          <p:spPr>
            <a:xfrm>
              <a:off x="5624284" y="4858775"/>
              <a:ext cx="142527" cy="142527"/>
            </a:xfrm>
            <a:custGeom>
              <a:avLst/>
              <a:gdLst>
                <a:gd name="connsiteX0" fmla="*/ 142404 w 142527"/>
                <a:gd name="connsiteY0" fmla="*/ 72124 h 142527"/>
                <a:gd name="connsiteX1" fmla="*/ 72124 w 142527"/>
                <a:gd name="connsiteY1" fmla="*/ 142404 h 142527"/>
                <a:gd name="connsiteX2" fmla="*/ 1843 w 142527"/>
                <a:gd name="connsiteY2" fmla="*/ 72124 h 142527"/>
                <a:gd name="connsiteX3" fmla="*/ 72124 w 142527"/>
                <a:gd name="connsiteY3" fmla="*/ 1843 h 142527"/>
                <a:gd name="connsiteX4" fmla="*/ 142404 w 142527"/>
                <a:gd name="connsiteY4" fmla="*/ 72124 h 142527"/>
                <a:gd name="connsiteX5" fmla="*/ 142404 w 142527"/>
                <a:gd name="connsiteY5"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527" h="142527">
                  <a:moveTo>
                    <a:pt x="142404" y="72124"/>
                  </a:moveTo>
                  <a:cubicBezTo>
                    <a:pt x="142404" y="110950"/>
                    <a:pt x="110950" y="142404"/>
                    <a:pt x="72124" y="142404"/>
                  </a:cubicBezTo>
                  <a:cubicBezTo>
                    <a:pt x="33297" y="142404"/>
                    <a:pt x="1843" y="110950"/>
                    <a:pt x="1843" y="72124"/>
                  </a:cubicBezTo>
                  <a:cubicBezTo>
                    <a:pt x="1843" y="33297"/>
                    <a:pt x="33297" y="1843"/>
                    <a:pt x="72124" y="1843"/>
                  </a:cubicBezTo>
                  <a:cubicBezTo>
                    <a:pt x="110950" y="1843"/>
                    <a:pt x="142404" y="33543"/>
                    <a:pt x="142404" y="72124"/>
                  </a:cubicBezTo>
                  <a:lnTo>
                    <a:pt x="142404" y="72124"/>
                  </a:lnTo>
                  <a:close/>
                </a:path>
              </a:pathLst>
            </a:custGeom>
            <a:solidFill>
              <a:srgbClr val="FFCDBF"/>
            </a:solidFill>
            <a:ln w="9525" cap="flat">
              <a:noFill/>
              <a:prstDash val="solid"/>
              <a:miter/>
            </a:ln>
          </p:spPr>
          <p:txBody>
            <a:bodyPr rtlCol="0" anchor="ctr"/>
            <a:lstStyle/>
            <a:p>
              <a:endParaRPr lang="en-US" sz="1568"/>
            </a:p>
          </p:txBody>
        </p:sp>
        <p:sp>
          <p:nvSpPr>
            <p:cNvPr id="38" name="Freeform: Shape 37">
              <a:extLst>
                <a:ext uri="{FF2B5EF4-FFF2-40B4-BE49-F238E27FC236}">
                  <a16:creationId xmlns:a16="http://schemas.microsoft.com/office/drawing/2014/main" id="{5A0B201A-424C-4A80-A1AE-5C09F19930DD}"/>
                </a:ext>
              </a:extLst>
            </p:cNvPr>
            <p:cNvSpPr/>
            <p:nvPr/>
          </p:nvSpPr>
          <p:spPr>
            <a:xfrm>
              <a:off x="5579806" y="4999336"/>
              <a:ext cx="233449" cy="149899"/>
            </a:xfrm>
            <a:custGeom>
              <a:avLst/>
              <a:gdLst>
                <a:gd name="connsiteX0" fmla="*/ 156411 w 233449"/>
                <a:gd name="connsiteY0" fmla="*/ 1843 h 149899"/>
                <a:gd name="connsiteX1" fmla="*/ 77038 w 233449"/>
                <a:gd name="connsiteY1" fmla="*/ 1843 h 149899"/>
                <a:gd name="connsiteX2" fmla="*/ 1843 w 233449"/>
                <a:gd name="connsiteY2" fmla="*/ 77038 h 149899"/>
                <a:gd name="connsiteX3" fmla="*/ 1843 w 233449"/>
                <a:gd name="connsiteY3" fmla="*/ 135769 h 149899"/>
                <a:gd name="connsiteX4" fmla="*/ 14621 w 233449"/>
                <a:gd name="connsiteY4" fmla="*/ 148548 h 149899"/>
                <a:gd name="connsiteX5" fmla="*/ 218828 w 233449"/>
                <a:gd name="connsiteY5" fmla="*/ 148548 h 149899"/>
                <a:gd name="connsiteX6" fmla="*/ 231606 w 233449"/>
                <a:gd name="connsiteY6" fmla="*/ 135769 h 149899"/>
                <a:gd name="connsiteX7" fmla="*/ 231606 w 233449"/>
                <a:gd name="connsiteY7" fmla="*/ 77038 h 149899"/>
                <a:gd name="connsiteX8" fmla="*/ 156411 w 233449"/>
                <a:gd name="connsiteY8" fmla="*/ 1843 h 149899"/>
                <a:gd name="connsiteX9" fmla="*/ 156411 w 233449"/>
                <a:gd name="connsiteY9" fmla="*/ 1843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3449" h="149899">
                  <a:moveTo>
                    <a:pt x="156411" y="1843"/>
                  </a:moveTo>
                  <a:lnTo>
                    <a:pt x="77038" y="1843"/>
                  </a:lnTo>
                  <a:cubicBezTo>
                    <a:pt x="35755" y="1843"/>
                    <a:pt x="1843" y="35755"/>
                    <a:pt x="1843" y="77038"/>
                  </a:cubicBezTo>
                  <a:lnTo>
                    <a:pt x="1843" y="135769"/>
                  </a:lnTo>
                  <a:cubicBezTo>
                    <a:pt x="1843" y="142896"/>
                    <a:pt x="7495" y="148548"/>
                    <a:pt x="14621" y="148548"/>
                  </a:cubicBezTo>
                  <a:lnTo>
                    <a:pt x="218828" y="148548"/>
                  </a:lnTo>
                  <a:cubicBezTo>
                    <a:pt x="225955" y="148548"/>
                    <a:pt x="231606" y="142896"/>
                    <a:pt x="231606" y="135769"/>
                  </a:cubicBezTo>
                  <a:lnTo>
                    <a:pt x="231606" y="77038"/>
                  </a:lnTo>
                  <a:cubicBezTo>
                    <a:pt x="231606" y="35755"/>
                    <a:pt x="197695" y="1843"/>
                    <a:pt x="156411" y="1843"/>
                  </a:cubicBezTo>
                  <a:lnTo>
                    <a:pt x="156411" y="1843"/>
                  </a:lnTo>
                  <a:close/>
                </a:path>
              </a:pathLst>
            </a:custGeom>
            <a:solidFill>
              <a:srgbClr val="FF6B6B"/>
            </a:solidFill>
            <a:ln w="9525" cap="flat">
              <a:noFill/>
              <a:prstDash val="solid"/>
              <a:miter/>
            </a:ln>
          </p:spPr>
          <p:txBody>
            <a:bodyPr rtlCol="0" anchor="ctr"/>
            <a:lstStyle/>
            <a:p>
              <a:endParaRPr lang="en-US" sz="1568"/>
            </a:p>
          </p:txBody>
        </p:sp>
        <p:sp>
          <p:nvSpPr>
            <p:cNvPr id="39" name="Freeform: Shape 38">
              <a:extLst>
                <a:ext uri="{FF2B5EF4-FFF2-40B4-BE49-F238E27FC236}">
                  <a16:creationId xmlns:a16="http://schemas.microsoft.com/office/drawing/2014/main" id="{C5491C24-617D-477B-986B-8FCA32D74F10}"/>
                </a:ext>
              </a:extLst>
            </p:cNvPr>
            <p:cNvSpPr/>
            <p:nvPr/>
          </p:nvSpPr>
          <p:spPr>
            <a:xfrm>
              <a:off x="5579806" y="4999336"/>
              <a:ext cx="127783" cy="149899"/>
            </a:xfrm>
            <a:custGeom>
              <a:avLst/>
              <a:gdLst>
                <a:gd name="connsiteX0" fmla="*/ 52465 w 127782"/>
                <a:gd name="connsiteY0" fmla="*/ 135769 h 149899"/>
                <a:gd name="connsiteX1" fmla="*/ 52465 w 127782"/>
                <a:gd name="connsiteY1" fmla="*/ 77038 h 149899"/>
                <a:gd name="connsiteX2" fmla="*/ 127660 w 127782"/>
                <a:gd name="connsiteY2" fmla="*/ 1843 h 149899"/>
                <a:gd name="connsiteX3" fmla="*/ 77038 w 127782"/>
                <a:gd name="connsiteY3" fmla="*/ 1843 h 149899"/>
                <a:gd name="connsiteX4" fmla="*/ 1843 w 127782"/>
                <a:gd name="connsiteY4" fmla="*/ 77038 h 149899"/>
                <a:gd name="connsiteX5" fmla="*/ 1843 w 127782"/>
                <a:gd name="connsiteY5" fmla="*/ 135769 h 149899"/>
                <a:gd name="connsiteX6" fmla="*/ 14621 w 127782"/>
                <a:gd name="connsiteY6" fmla="*/ 148548 h 149899"/>
                <a:gd name="connsiteX7" fmla="*/ 65243 w 127782"/>
                <a:gd name="connsiteY7" fmla="*/ 148548 h 149899"/>
                <a:gd name="connsiteX8" fmla="*/ 52465 w 127782"/>
                <a:gd name="connsiteY8" fmla="*/ 135769 h 149899"/>
                <a:gd name="connsiteX9" fmla="*/ 52465 w 127782"/>
                <a:gd name="connsiteY9" fmla="*/ 135769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82" h="149899">
                  <a:moveTo>
                    <a:pt x="52465" y="135769"/>
                  </a:moveTo>
                  <a:lnTo>
                    <a:pt x="52465" y="77038"/>
                  </a:lnTo>
                  <a:cubicBezTo>
                    <a:pt x="52465" y="35755"/>
                    <a:pt x="86376" y="1843"/>
                    <a:pt x="127660" y="1843"/>
                  </a:cubicBezTo>
                  <a:lnTo>
                    <a:pt x="77038" y="1843"/>
                  </a:lnTo>
                  <a:cubicBezTo>
                    <a:pt x="35755" y="1843"/>
                    <a:pt x="1843" y="35755"/>
                    <a:pt x="1843" y="77038"/>
                  </a:cubicBezTo>
                  <a:lnTo>
                    <a:pt x="1843" y="135769"/>
                  </a:lnTo>
                  <a:cubicBezTo>
                    <a:pt x="1843" y="142896"/>
                    <a:pt x="7495" y="148548"/>
                    <a:pt x="14621" y="148548"/>
                  </a:cubicBezTo>
                  <a:lnTo>
                    <a:pt x="65243" y="148548"/>
                  </a:lnTo>
                  <a:cubicBezTo>
                    <a:pt x="58117" y="148548"/>
                    <a:pt x="52465" y="142896"/>
                    <a:pt x="52465" y="135769"/>
                  </a:cubicBezTo>
                  <a:lnTo>
                    <a:pt x="52465" y="135769"/>
                  </a:lnTo>
                  <a:close/>
                </a:path>
              </a:pathLst>
            </a:custGeom>
            <a:solidFill>
              <a:srgbClr val="EE5253"/>
            </a:solidFill>
            <a:ln w="9525" cap="flat">
              <a:noFill/>
              <a:prstDash val="solid"/>
              <a:miter/>
            </a:ln>
          </p:spPr>
          <p:txBody>
            <a:bodyPr rtlCol="0" anchor="ctr"/>
            <a:lstStyle/>
            <a:p>
              <a:endParaRPr lang="en-US" sz="1568"/>
            </a:p>
          </p:txBody>
        </p:sp>
        <p:sp>
          <p:nvSpPr>
            <p:cNvPr id="40" name="Freeform: Shape 39">
              <a:extLst>
                <a:ext uri="{FF2B5EF4-FFF2-40B4-BE49-F238E27FC236}">
                  <a16:creationId xmlns:a16="http://schemas.microsoft.com/office/drawing/2014/main" id="{5C162251-8187-469A-A1B7-8253061A87D7}"/>
                </a:ext>
              </a:extLst>
            </p:cNvPr>
            <p:cNvSpPr/>
            <p:nvPr/>
          </p:nvSpPr>
          <p:spPr>
            <a:xfrm>
              <a:off x="5732900" y="5052907"/>
              <a:ext cx="41775" cy="95837"/>
            </a:xfrm>
            <a:custGeom>
              <a:avLst/>
              <a:gdLst>
                <a:gd name="connsiteX0" fmla="*/ 39686 w 41775"/>
                <a:gd name="connsiteY0" fmla="*/ 20765 h 95837"/>
                <a:gd name="connsiteX1" fmla="*/ 20765 w 41775"/>
                <a:gd name="connsiteY1" fmla="*/ 1843 h 95837"/>
                <a:gd name="connsiteX2" fmla="*/ 1843 w 41775"/>
                <a:gd name="connsiteY2" fmla="*/ 20765 h 95837"/>
                <a:gd name="connsiteX3" fmla="*/ 1843 w 41775"/>
                <a:gd name="connsiteY3" fmla="*/ 94977 h 95837"/>
                <a:gd name="connsiteX4" fmla="*/ 39932 w 41775"/>
                <a:gd name="connsiteY4" fmla="*/ 94977 h 95837"/>
                <a:gd name="connsiteX5" fmla="*/ 39932 w 41775"/>
                <a:gd name="connsiteY5" fmla="*/ 20765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775" h="95837">
                  <a:moveTo>
                    <a:pt x="39686" y="20765"/>
                  </a:moveTo>
                  <a:cubicBezTo>
                    <a:pt x="39686" y="10198"/>
                    <a:pt x="31086" y="1843"/>
                    <a:pt x="20765" y="1843"/>
                  </a:cubicBezTo>
                  <a:cubicBezTo>
                    <a:pt x="10198" y="1843"/>
                    <a:pt x="1843" y="10444"/>
                    <a:pt x="1843" y="20765"/>
                  </a:cubicBezTo>
                  <a:lnTo>
                    <a:pt x="1843" y="94977"/>
                  </a:lnTo>
                  <a:lnTo>
                    <a:pt x="39932" y="94977"/>
                  </a:lnTo>
                  <a:lnTo>
                    <a:pt x="39932" y="20765"/>
                  </a:lnTo>
                  <a:close/>
                </a:path>
              </a:pathLst>
            </a:custGeom>
            <a:solidFill>
              <a:srgbClr val="EE5253"/>
            </a:solidFill>
            <a:ln w="9525" cap="flat">
              <a:noFill/>
              <a:prstDash val="solid"/>
              <a:miter/>
            </a:ln>
          </p:spPr>
          <p:txBody>
            <a:bodyPr rtlCol="0" anchor="ctr"/>
            <a:lstStyle/>
            <a:p>
              <a:endParaRPr lang="en-US" sz="1568"/>
            </a:p>
          </p:txBody>
        </p:sp>
        <p:sp>
          <p:nvSpPr>
            <p:cNvPr id="41" name="Freeform: Shape 40">
              <a:extLst>
                <a:ext uri="{FF2B5EF4-FFF2-40B4-BE49-F238E27FC236}">
                  <a16:creationId xmlns:a16="http://schemas.microsoft.com/office/drawing/2014/main" id="{22701A01-B4FD-4393-A100-0BD705E984B6}"/>
                </a:ext>
              </a:extLst>
            </p:cNvPr>
            <p:cNvSpPr/>
            <p:nvPr/>
          </p:nvSpPr>
          <p:spPr>
            <a:xfrm>
              <a:off x="5618632" y="5052907"/>
              <a:ext cx="39318" cy="95837"/>
            </a:xfrm>
            <a:custGeom>
              <a:avLst/>
              <a:gdLst>
                <a:gd name="connsiteX0" fmla="*/ 39686 w 39317"/>
                <a:gd name="connsiteY0" fmla="*/ 94977 h 95837"/>
                <a:gd name="connsiteX1" fmla="*/ 39686 w 39317"/>
                <a:gd name="connsiteY1" fmla="*/ 20765 h 95837"/>
                <a:gd name="connsiteX2" fmla="*/ 20765 w 39317"/>
                <a:gd name="connsiteY2" fmla="*/ 1843 h 95837"/>
                <a:gd name="connsiteX3" fmla="*/ 1843 w 39317"/>
                <a:gd name="connsiteY3" fmla="*/ 20765 h 95837"/>
                <a:gd name="connsiteX4" fmla="*/ 1843 w 39317"/>
                <a:gd name="connsiteY4" fmla="*/ 94977 h 95837"/>
                <a:gd name="connsiteX5" fmla="*/ 39686 w 39317"/>
                <a:gd name="connsiteY5" fmla="*/ 94977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17" h="95837">
                  <a:moveTo>
                    <a:pt x="39686" y="94977"/>
                  </a:moveTo>
                  <a:lnTo>
                    <a:pt x="39686" y="20765"/>
                  </a:lnTo>
                  <a:cubicBezTo>
                    <a:pt x="39686" y="10198"/>
                    <a:pt x="31086" y="1843"/>
                    <a:pt x="20765" y="1843"/>
                  </a:cubicBezTo>
                  <a:cubicBezTo>
                    <a:pt x="10198" y="1843"/>
                    <a:pt x="1843" y="10444"/>
                    <a:pt x="1843" y="20765"/>
                  </a:cubicBezTo>
                  <a:lnTo>
                    <a:pt x="1843" y="94977"/>
                  </a:lnTo>
                  <a:lnTo>
                    <a:pt x="39686" y="94977"/>
                  </a:lnTo>
                  <a:close/>
                </a:path>
              </a:pathLst>
            </a:custGeom>
            <a:solidFill>
              <a:srgbClr val="EE5253"/>
            </a:solidFill>
            <a:ln w="9525" cap="flat">
              <a:noFill/>
              <a:prstDash val="solid"/>
              <a:miter/>
            </a:ln>
          </p:spPr>
          <p:txBody>
            <a:bodyPr rtlCol="0" anchor="ctr"/>
            <a:lstStyle/>
            <a:p>
              <a:endParaRPr lang="en-US" sz="1568"/>
            </a:p>
          </p:txBody>
        </p:sp>
        <p:sp>
          <p:nvSpPr>
            <p:cNvPr id="42" name="Freeform: Shape 41">
              <a:extLst>
                <a:ext uri="{FF2B5EF4-FFF2-40B4-BE49-F238E27FC236}">
                  <a16:creationId xmlns:a16="http://schemas.microsoft.com/office/drawing/2014/main" id="{61E535D6-5B4C-4C56-809D-244F33C372A4}"/>
                </a:ext>
              </a:extLst>
            </p:cNvPr>
            <p:cNvSpPr/>
            <p:nvPr/>
          </p:nvSpPr>
          <p:spPr>
            <a:xfrm>
              <a:off x="6047688" y="4607387"/>
              <a:ext cx="142527" cy="142527"/>
            </a:xfrm>
            <a:custGeom>
              <a:avLst/>
              <a:gdLst>
                <a:gd name="connsiteX0" fmla="*/ 142404 w 142527"/>
                <a:gd name="connsiteY0" fmla="*/ 72124 h 142527"/>
                <a:gd name="connsiteX1" fmla="*/ 72124 w 142527"/>
                <a:gd name="connsiteY1" fmla="*/ 142404 h 142527"/>
                <a:gd name="connsiteX2" fmla="*/ 1843 w 142527"/>
                <a:gd name="connsiteY2" fmla="*/ 72124 h 142527"/>
                <a:gd name="connsiteX3" fmla="*/ 72124 w 142527"/>
                <a:gd name="connsiteY3" fmla="*/ 1843 h 142527"/>
                <a:gd name="connsiteX4" fmla="*/ 142404 w 142527"/>
                <a:gd name="connsiteY4" fmla="*/ 72124 h 142527"/>
                <a:gd name="connsiteX5" fmla="*/ 142404 w 142527"/>
                <a:gd name="connsiteY5"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527" h="142527">
                  <a:moveTo>
                    <a:pt x="142404" y="72124"/>
                  </a:moveTo>
                  <a:cubicBezTo>
                    <a:pt x="142404" y="110950"/>
                    <a:pt x="110950" y="142404"/>
                    <a:pt x="72124" y="142404"/>
                  </a:cubicBezTo>
                  <a:cubicBezTo>
                    <a:pt x="33297" y="142404"/>
                    <a:pt x="1843" y="110950"/>
                    <a:pt x="1843" y="72124"/>
                  </a:cubicBezTo>
                  <a:cubicBezTo>
                    <a:pt x="2089" y="33297"/>
                    <a:pt x="33543" y="1843"/>
                    <a:pt x="72124" y="1843"/>
                  </a:cubicBezTo>
                  <a:cubicBezTo>
                    <a:pt x="110950" y="1843"/>
                    <a:pt x="142404" y="33297"/>
                    <a:pt x="142404" y="72124"/>
                  </a:cubicBezTo>
                  <a:lnTo>
                    <a:pt x="142404" y="72124"/>
                  </a:lnTo>
                  <a:close/>
                </a:path>
              </a:pathLst>
            </a:custGeom>
            <a:solidFill>
              <a:srgbClr val="FFCDBF"/>
            </a:solidFill>
            <a:ln w="9525" cap="flat">
              <a:noFill/>
              <a:prstDash val="solid"/>
              <a:miter/>
            </a:ln>
          </p:spPr>
          <p:txBody>
            <a:bodyPr rtlCol="0" anchor="ctr"/>
            <a:lstStyle/>
            <a:p>
              <a:endParaRPr lang="en-US" sz="1568"/>
            </a:p>
          </p:txBody>
        </p:sp>
        <p:sp>
          <p:nvSpPr>
            <p:cNvPr id="43" name="Freeform: Shape 42">
              <a:extLst>
                <a:ext uri="{FF2B5EF4-FFF2-40B4-BE49-F238E27FC236}">
                  <a16:creationId xmlns:a16="http://schemas.microsoft.com/office/drawing/2014/main" id="{67297A53-51C5-41D4-99D8-459BFC43300B}"/>
                </a:ext>
              </a:extLst>
            </p:cNvPr>
            <p:cNvSpPr/>
            <p:nvPr/>
          </p:nvSpPr>
          <p:spPr>
            <a:xfrm>
              <a:off x="6003210" y="4747702"/>
              <a:ext cx="230992" cy="149899"/>
            </a:xfrm>
            <a:custGeom>
              <a:avLst/>
              <a:gdLst>
                <a:gd name="connsiteX0" fmla="*/ 156411 w 230992"/>
                <a:gd name="connsiteY0" fmla="*/ 1843 h 149899"/>
                <a:gd name="connsiteX1" fmla="*/ 77038 w 230992"/>
                <a:gd name="connsiteY1" fmla="*/ 1843 h 149899"/>
                <a:gd name="connsiteX2" fmla="*/ 1843 w 230992"/>
                <a:gd name="connsiteY2" fmla="*/ 77038 h 149899"/>
                <a:gd name="connsiteX3" fmla="*/ 1843 w 230992"/>
                <a:gd name="connsiteY3" fmla="*/ 135769 h 149899"/>
                <a:gd name="connsiteX4" fmla="*/ 14621 w 230992"/>
                <a:gd name="connsiteY4" fmla="*/ 148548 h 149899"/>
                <a:gd name="connsiteX5" fmla="*/ 218828 w 230992"/>
                <a:gd name="connsiteY5" fmla="*/ 148548 h 149899"/>
                <a:gd name="connsiteX6" fmla="*/ 231606 w 230992"/>
                <a:gd name="connsiteY6" fmla="*/ 135769 h 149899"/>
                <a:gd name="connsiteX7" fmla="*/ 231606 w 230992"/>
                <a:gd name="connsiteY7" fmla="*/ 77038 h 149899"/>
                <a:gd name="connsiteX8" fmla="*/ 156411 w 230992"/>
                <a:gd name="connsiteY8" fmla="*/ 1843 h 149899"/>
                <a:gd name="connsiteX9" fmla="*/ 156411 w 230992"/>
                <a:gd name="connsiteY9" fmla="*/ 1843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0992" h="149899">
                  <a:moveTo>
                    <a:pt x="156411" y="1843"/>
                  </a:moveTo>
                  <a:lnTo>
                    <a:pt x="77038" y="1843"/>
                  </a:lnTo>
                  <a:cubicBezTo>
                    <a:pt x="35755" y="1843"/>
                    <a:pt x="1843" y="35755"/>
                    <a:pt x="1843" y="77038"/>
                  </a:cubicBezTo>
                  <a:lnTo>
                    <a:pt x="1843" y="135769"/>
                  </a:lnTo>
                  <a:cubicBezTo>
                    <a:pt x="1843" y="142896"/>
                    <a:pt x="7495" y="148548"/>
                    <a:pt x="14621" y="148548"/>
                  </a:cubicBezTo>
                  <a:lnTo>
                    <a:pt x="218828" y="148548"/>
                  </a:lnTo>
                  <a:cubicBezTo>
                    <a:pt x="225955" y="148548"/>
                    <a:pt x="231606" y="142896"/>
                    <a:pt x="231606" y="135769"/>
                  </a:cubicBezTo>
                  <a:lnTo>
                    <a:pt x="231606" y="77038"/>
                  </a:lnTo>
                  <a:cubicBezTo>
                    <a:pt x="231606" y="35755"/>
                    <a:pt x="197695" y="1843"/>
                    <a:pt x="156411" y="1843"/>
                  </a:cubicBezTo>
                  <a:lnTo>
                    <a:pt x="156411" y="1843"/>
                  </a:lnTo>
                  <a:close/>
                </a:path>
              </a:pathLst>
            </a:custGeom>
            <a:solidFill>
              <a:srgbClr val="FF6B6B"/>
            </a:solidFill>
            <a:ln w="9525" cap="flat">
              <a:noFill/>
              <a:prstDash val="solid"/>
              <a:miter/>
            </a:ln>
          </p:spPr>
          <p:txBody>
            <a:bodyPr rtlCol="0" anchor="ctr"/>
            <a:lstStyle/>
            <a:p>
              <a:endParaRPr lang="en-US" sz="1568"/>
            </a:p>
          </p:txBody>
        </p:sp>
        <p:sp>
          <p:nvSpPr>
            <p:cNvPr id="44" name="Freeform: Shape 43">
              <a:extLst>
                <a:ext uri="{FF2B5EF4-FFF2-40B4-BE49-F238E27FC236}">
                  <a16:creationId xmlns:a16="http://schemas.microsoft.com/office/drawing/2014/main" id="{3DCE0592-636E-4759-80FF-C48F5249E0D0}"/>
                </a:ext>
              </a:extLst>
            </p:cNvPr>
            <p:cNvSpPr/>
            <p:nvPr/>
          </p:nvSpPr>
          <p:spPr>
            <a:xfrm>
              <a:off x="6003210" y="4747702"/>
              <a:ext cx="127783" cy="149899"/>
            </a:xfrm>
            <a:custGeom>
              <a:avLst/>
              <a:gdLst>
                <a:gd name="connsiteX0" fmla="*/ 52465 w 127782"/>
                <a:gd name="connsiteY0" fmla="*/ 135769 h 149899"/>
                <a:gd name="connsiteX1" fmla="*/ 52465 w 127782"/>
                <a:gd name="connsiteY1" fmla="*/ 77038 h 149899"/>
                <a:gd name="connsiteX2" fmla="*/ 127660 w 127782"/>
                <a:gd name="connsiteY2" fmla="*/ 1843 h 149899"/>
                <a:gd name="connsiteX3" fmla="*/ 77038 w 127782"/>
                <a:gd name="connsiteY3" fmla="*/ 1843 h 149899"/>
                <a:gd name="connsiteX4" fmla="*/ 1843 w 127782"/>
                <a:gd name="connsiteY4" fmla="*/ 77038 h 149899"/>
                <a:gd name="connsiteX5" fmla="*/ 1843 w 127782"/>
                <a:gd name="connsiteY5" fmla="*/ 135769 h 149899"/>
                <a:gd name="connsiteX6" fmla="*/ 14621 w 127782"/>
                <a:gd name="connsiteY6" fmla="*/ 148548 h 149899"/>
                <a:gd name="connsiteX7" fmla="*/ 65243 w 127782"/>
                <a:gd name="connsiteY7" fmla="*/ 148548 h 149899"/>
                <a:gd name="connsiteX8" fmla="*/ 52465 w 127782"/>
                <a:gd name="connsiteY8" fmla="*/ 135769 h 149899"/>
                <a:gd name="connsiteX9" fmla="*/ 52465 w 127782"/>
                <a:gd name="connsiteY9" fmla="*/ 135769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82" h="149899">
                  <a:moveTo>
                    <a:pt x="52465" y="135769"/>
                  </a:moveTo>
                  <a:lnTo>
                    <a:pt x="52465" y="77038"/>
                  </a:lnTo>
                  <a:cubicBezTo>
                    <a:pt x="52465" y="35755"/>
                    <a:pt x="86376" y="1843"/>
                    <a:pt x="127660" y="1843"/>
                  </a:cubicBezTo>
                  <a:lnTo>
                    <a:pt x="77038" y="1843"/>
                  </a:lnTo>
                  <a:cubicBezTo>
                    <a:pt x="35755" y="1843"/>
                    <a:pt x="1843" y="35755"/>
                    <a:pt x="1843" y="77038"/>
                  </a:cubicBezTo>
                  <a:lnTo>
                    <a:pt x="1843" y="135769"/>
                  </a:lnTo>
                  <a:cubicBezTo>
                    <a:pt x="1843" y="142896"/>
                    <a:pt x="7495" y="148548"/>
                    <a:pt x="14621" y="148548"/>
                  </a:cubicBezTo>
                  <a:lnTo>
                    <a:pt x="65243" y="148548"/>
                  </a:lnTo>
                  <a:cubicBezTo>
                    <a:pt x="58117" y="148548"/>
                    <a:pt x="52465" y="142896"/>
                    <a:pt x="52465" y="135769"/>
                  </a:cubicBezTo>
                  <a:lnTo>
                    <a:pt x="52465" y="135769"/>
                  </a:lnTo>
                  <a:close/>
                </a:path>
              </a:pathLst>
            </a:custGeom>
            <a:solidFill>
              <a:srgbClr val="EE5253"/>
            </a:solidFill>
            <a:ln w="9525" cap="flat">
              <a:noFill/>
              <a:prstDash val="solid"/>
              <a:miter/>
            </a:ln>
          </p:spPr>
          <p:txBody>
            <a:bodyPr rtlCol="0" anchor="ctr"/>
            <a:lstStyle/>
            <a:p>
              <a:endParaRPr lang="en-US" sz="1568"/>
            </a:p>
          </p:txBody>
        </p:sp>
        <p:sp>
          <p:nvSpPr>
            <p:cNvPr id="45" name="Freeform: Shape 44">
              <a:extLst>
                <a:ext uri="{FF2B5EF4-FFF2-40B4-BE49-F238E27FC236}">
                  <a16:creationId xmlns:a16="http://schemas.microsoft.com/office/drawing/2014/main" id="{DDF0989F-4E91-413F-B2FB-C0AC23662E97}"/>
                </a:ext>
              </a:extLst>
            </p:cNvPr>
            <p:cNvSpPr/>
            <p:nvPr/>
          </p:nvSpPr>
          <p:spPr>
            <a:xfrm>
              <a:off x="6156303" y="4801273"/>
              <a:ext cx="39318" cy="95837"/>
            </a:xfrm>
            <a:custGeom>
              <a:avLst/>
              <a:gdLst>
                <a:gd name="connsiteX0" fmla="*/ 39686 w 39317"/>
                <a:gd name="connsiteY0" fmla="*/ 20765 h 95837"/>
                <a:gd name="connsiteX1" fmla="*/ 20765 w 39317"/>
                <a:gd name="connsiteY1" fmla="*/ 1843 h 95837"/>
                <a:gd name="connsiteX2" fmla="*/ 1843 w 39317"/>
                <a:gd name="connsiteY2" fmla="*/ 20765 h 95837"/>
                <a:gd name="connsiteX3" fmla="*/ 1843 w 39317"/>
                <a:gd name="connsiteY3" fmla="*/ 94977 h 95837"/>
                <a:gd name="connsiteX4" fmla="*/ 39686 w 39317"/>
                <a:gd name="connsiteY4" fmla="*/ 94977 h 95837"/>
                <a:gd name="connsiteX5" fmla="*/ 39686 w 39317"/>
                <a:gd name="connsiteY5" fmla="*/ 20765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17" h="95837">
                  <a:moveTo>
                    <a:pt x="39686" y="20765"/>
                  </a:moveTo>
                  <a:cubicBezTo>
                    <a:pt x="39686" y="10198"/>
                    <a:pt x="31086" y="1843"/>
                    <a:pt x="20765" y="1843"/>
                  </a:cubicBezTo>
                  <a:cubicBezTo>
                    <a:pt x="10198" y="1843"/>
                    <a:pt x="1843" y="10444"/>
                    <a:pt x="1843" y="20765"/>
                  </a:cubicBezTo>
                  <a:lnTo>
                    <a:pt x="1843" y="94977"/>
                  </a:lnTo>
                  <a:lnTo>
                    <a:pt x="39686" y="94977"/>
                  </a:lnTo>
                  <a:lnTo>
                    <a:pt x="39686" y="20765"/>
                  </a:lnTo>
                  <a:close/>
                </a:path>
              </a:pathLst>
            </a:custGeom>
            <a:solidFill>
              <a:srgbClr val="EE5253"/>
            </a:solidFill>
            <a:ln w="9525" cap="flat">
              <a:noFill/>
              <a:prstDash val="solid"/>
              <a:miter/>
            </a:ln>
          </p:spPr>
          <p:txBody>
            <a:bodyPr rtlCol="0" anchor="ctr"/>
            <a:lstStyle/>
            <a:p>
              <a:endParaRPr lang="en-US" sz="1568"/>
            </a:p>
          </p:txBody>
        </p:sp>
        <p:sp>
          <p:nvSpPr>
            <p:cNvPr id="46" name="Freeform: Shape 45">
              <a:extLst>
                <a:ext uri="{FF2B5EF4-FFF2-40B4-BE49-F238E27FC236}">
                  <a16:creationId xmlns:a16="http://schemas.microsoft.com/office/drawing/2014/main" id="{9C21A9D9-6A41-47E5-BEAB-688953FF2527}"/>
                </a:ext>
              </a:extLst>
            </p:cNvPr>
            <p:cNvSpPr/>
            <p:nvPr/>
          </p:nvSpPr>
          <p:spPr>
            <a:xfrm>
              <a:off x="6042036" y="4801273"/>
              <a:ext cx="39318" cy="95837"/>
            </a:xfrm>
            <a:custGeom>
              <a:avLst/>
              <a:gdLst>
                <a:gd name="connsiteX0" fmla="*/ 39686 w 39317"/>
                <a:gd name="connsiteY0" fmla="*/ 94977 h 95837"/>
                <a:gd name="connsiteX1" fmla="*/ 39686 w 39317"/>
                <a:gd name="connsiteY1" fmla="*/ 20765 h 95837"/>
                <a:gd name="connsiteX2" fmla="*/ 20765 w 39317"/>
                <a:gd name="connsiteY2" fmla="*/ 1843 h 95837"/>
                <a:gd name="connsiteX3" fmla="*/ 1843 w 39317"/>
                <a:gd name="connsiteY3" fmla="*/ 20765 h 95837"/>
                <a:gd name="connsiteX4" fmla="*/ 1843 w 39317"/>
                <a:gd name="connsiteY4" fmla="*/ 94977 h 95837"/>
                <a:gd name="connsiteX5" fmla="*/ 39686 w 39317"/>
                <a:gd name="connsiteY5" fmla="*/ 94977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17" h="95837">
                  <a:moveTo>
                    <a:pt x="39686" y="94977"/>
                  </a:moveTo>
                  <a:lnTo>
                    <a:pt x="39686" y="20765"/>
                  </a:lnTo>
                  <a:cubicBezTo>
                    <a:pt x="39686" y="10198"/>
                    <a:pt x="31086" y="1843"/>
                    <a:pt x="20765" y="1843"/>
                  </a:cubicBezTo>
                  <a:cubicBezTo>
                    <a:pt x="10198" y="1843"/>
                    <a:pt x="1843" y="10444"/>
                    <a:pt x="1843" y="20765"/>
                  </a:cubicBezTo>
                  <a:lnTo>
                    <a:pt x="1843" y="94977"/>
                  </a:lnTo>
                  <a:lnTo>
                    <a:pt x="39686" y="94977"/>
                  </a:lnTo>
                  <a:close/>
                </a:path>
              </a:pathLst>
            </a:custGeom>
            <a:solidFill>
              <a:srgbClr val="EE5253"/>
            </a:solidFill>
            <a:ln w="9525" cap="flat">
              <a:noFill/>
              <a:prstDash val="solid"/>
              <a:miter/>
            </a:ln>
          </p:spPr>
          <p:txBody>
            <a:bodyPr rtlCol="0" anchor="ctr"/>
            <a:lstStyle/>
            <a:p>
              <a:endParaRPr lang="en-US" sz="1568"/>
            </a:p>
          </p:txBody>
        </p:sp>
        <p:sp>
          <p:nvSpPr>
            <p:cNvPr id="47" name="Freeform: Shape 46">
              <a:extLst>
                <a:ext uri="{FF2B5EF4-FFF2-40B4-BE49-F238E27FC236}">
                  <a16:creationId xmlns:a16="http://schemas.microsoft.com/office/drawing/2014/main" id="{88A7973F-071D-4C53-897F-801FD18D71D6}"/>
                </a:ext>
              </a:extLst>
            </p:cNvPr>
            <p:cNvSpPr/>
            <p:nvPr/>
          </p:nvSpPr>
          <p:spPr>
            <a:xfrm>
              <a:off x="6047688" y="5578291"/>
              <a:ext cx="142527" cy="142527"/>
            </a:xfrm>
            <a:custGeom>
              <a:avLst/>
              <a:gdLst>
                <a:gd name="connsiteX0" fmla="*/ 142404 w 142527"/>
                <a:gd name="connsiteY0" fmla="*/ 72124 h 142527"/>
                <a:gd name="connsiteX1" fmla="*/ 72124 w 142527"/>
                <a:gd name="connsiteY1" fmla="*/ 142404 h 142527"/>
                <a:gd name="connsiteX2" fmla="*/ 1843 w 142527"/>
                <a:gd name="connsiteY2" fmla="*/ 72124 h 142527"/>
                <a:gd name="connsiteX3" fmla="*/ 72124 w 142527"/>
                <a:gd name="connsiteY3" fmla="*/ 1843 h 142527"/>
                <a:gd name="connsiteX4" fmla="*/ 142404 w 142527"/>
                <a:gd name="connsiteY4" fmla="*/ 72124 h 142527"/>
                <a:gd name="connsiteX5" fmla="*/ 142404 w 142527"/>
                <a:gd name="connsiteY5"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2527" h="142527">
                  <a:moveTo>
                    <a:pt x="142404" y="72124"/>
                  </a:moveTo>
                  <a:cubicBezTo>
                    <a:pt x="142404" y="110950"/>
                    <a:pt x="110950" y="142404"/>
                    <a:pt x="72124" y="142404"/>
                  </a:cubicBezTo>
                  <a:cubicBezTo>
                    <a:pt x="33297" y="142404"/>
                    <a:pt x="1843" y="110950"/>
                    <a:pt x="1843" y="72124"/>
                  </a:cubicBezTo>
                  <a:cubicBezTo>
                    <a:pt x="1843" y="33297"/>
                    <a:pt x="33297" y="1843"/>
                    <a:pt x="72124" y="1843"/>
                  </a:cubicBezTo>
                  <a:cubicBezTo>
                    <a:pt x="110950" y="2089"/>
                    <a:pt x="142404" y="33297"/>
                    <a:pt x="142404" y="72124"/>
                  </a:cubicBezTo>
                  <a:lnTo>
                    <a:pt x="142404" y="72124"/>
                  </a:lnTo>
                  <a:close/>
                </a:path>
              </a:pathLst>
            </a:custGeom>
            <a:solidFill>
              <a:srgbClr val="FFCDBF"/>
            </a:solidFill>
            <a:ln w="9525" cap="flat">
              <a:noFill/>
              <a:prstDash val="solid"/>
              <a:miter/>
            </a:ln>
          </p:spPr>
          <p:txBody>
            <a:bodyPr rtlCol="0" anchor="ctr"/>
            <a:lstStyle/>
            <a:p>
              <a:endParaRPr lang="en-US" sz="1568"/>
            </a:p>
          </p:txBody>
        </p:sp>
        <p:sp>
          <p:nvSpPr>
            <p:cNvPr id="48" name="Freeform: Shape 47">
              <a:extLst>
                <a:ext uri="{FF2B5EF4-FFF2-40B4-BE49-F238E27FC236}">
                  <a16:creationId xmlns:a16="http://schemas.microsoft.com/office/drawing/2014/main" id="{0A24BE93-A636-46F3-98E0-558684B67C48}"/>
                </a:ext>
              </a:extLst>
            </p:cNvPr>
            <p:cNvSpPr/>
            <p:nvPr/>
          </p:nvSpPr>
          <p:spPr>
            <a:xfrm>
              <a:off x="6047688" y="5066422"/>
              <a:ext cx="110581" cy="142527"/>
            </a:xfrm>
            <a:custGeom>
              <a:avLst/>
              <a:gdLst>
                <a:gd name="connsiteX0" fmla="*/ 78021 w 110581"/>
                <a:gd name="connsiteY0" fmla="*/ 72124 h 142527"/>
                <a:gd name="connsiteX1" fmla="*/ 110213 w 110581"/>
                <a:gd name="connsiteY1" fmla="*/ 13147 h 142527"/>
                <a:gd name="connsiteX2" fmla="*/ 72124 w 110581"/>
                <a:gd name="connsiteY2" fmla="*/ 1843 h 142527"/>
                <a:gd name="connsiteX3" fmla="*/ 1843 w 110581"/>
                <a:gd name="connsiteY3" fmla="*/ 72124 h 142527"/>
                <a:gd name="connsiteX4" fmla="*/ 72124 w 110581"/>
                <a:gd name="connsiteY4" fmla="*/ 142404 h 142527"/>
                <a:gd name="connsiteX5" fmla="*/ 110213 w 110581"/>
                <a:gd name="connsiteY5" fmla="*/ 131100 h 142527"/>
                <a:gd name="connsiteX6" fmla="*/ 78021 w 110581"/>
                <a:gd name="connsiteY6" fmla="*/ 72124 h 142527"/>
                <a:gd name="connsiteX7" fmla="*/ 78021 w 110581"/>
                <a:gd name="connsiteY7"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581" h="142527">
                  <a:moveTo>
                    <a:pt x="78021" y="72124"/>
                  </a:moveTo>
                  <a:cubicBezTo>
                    <a:pt x="78021" y="47304"/>
                    <a:pt x="90800" y="25679"/>
                    <a:pt x="110213" y="13147"/>
                  </a:cubicBezTo>
                  <a:cubicBezTo>
                    <a:pt x="99155" y="6021"/>
                    <a:pt x="86131" y="1843"/>
                    <a:pt x="72124" y="1843"/>
                  </a:cubicBezTo>
                  <a:cubicBezTo>
                    <a:pt x="33297" y="1843"/>
                    <a:pt x="1843" y="33297"/>
                    <a:pt x="1843" y="72124"/>
                  </a:cubicBezTo>
                  <a:cubicBezTo>
                    <a:pt x="1843" y="110950"/>
                    <a:pt x="33297" y="142404"/>
                    <a:pt x="72124" y="142404"/>
                  </a:cubicBezTo>
                  <a:cubicBezTo>
                    <a:pt x="86131" y="142404"/>
                    <a:pt x="99155" y="138227"/>
                    <a:pt x="110213" y="131100"/>
                  </a:cubicBezTo>
                  <a:cubicBezTo>
                    <a:pt x="90800" y="118568"/>
                    <a:pt x="78021" y="96943"/>
                    <a:pt x="78021" y="72124"/>
                  </a:cubicBezTo>
                  <a:lnTo>
                    <a:pt x="78021" y="72124"/>
                  </a:lnTo>
                  <a:close/>
                </a:path>
              </a:pathLst>
            </a:custGeom>
            <a:solidFill>
              <a:srgbClr val="FFBEAB"/>
            </a:solidFill>
            <a:ln w="9525" cap="flat">
              <a:noFill/>
              <a:prstDash val="solid"/>
              <a:miter/>
            </a:ln>
          </p:spPr>
          <p:txBody>
            <a:bodyPr rtlCol="0" anchor="ctr"/>
            <a:lstStyle/>
            <a:p>
              <a:endParaRPr lang="en-US" sz="1568"/>
            </a:p>
          </p:txBody>
        </p:sp>
        <p:sp>
          <p:nvSpPr>
            <p:cNvPr id="49" name="Freeform: Shape 48">
              <a:extLst>
                <a:ext uri="{FF2B5EF4-FFF2-40B4-BE49-F238E27FC236}">
                  <a16:creationId xmlns:a16="http://schemas.microsoft.com/office/drawing/2014/main" id="{2C409102-D257-4376-B712-F4600CE937D3}"/>
                </a:ext>
              </a:extLst>
            </p:cNvPr>
            <p:cNvSpPr/>
            <p:nvPr/>
          </p:nvSpPr>
          <p:spPr>
            <a:xfrm>
              <a:off x="6471092" y="5300609"/>
              <a:ext cx="110581" cy="142527"/>
            </a:xfrm>
            <a:custGeom>
              <a:avLst/>
              <a:gdLst>
                <a:gd name="connsiteX0" fmla="*/ 78021 w 110581"/>
                <a:gd name="connsiteY0" fmla="*/ 72124 h 142527"/>
                <a:gd name="connsiteX1" fmla="*/ 110213 w 110581"/>
                <a:gd name="connsiteY1" fmla="*/ 13147 h 142527"/>
                <a:gd name="connsiteX2" fmla="*/ 72124 w 110581"/>
                <a:gd name="connsiteY2" fmla="*/ 1843 h 142527"/>
                <a:gd name="connsiteX3" fmla="*/ 1843 w 110581"/>
                <a:gd name="connsiteY3" fmla="*/ 72124 h 142527"/>
                <a:gd name="connsiteX4" fmla="*/ 72124 w 110581"/>
                <a:gd name="connsiteY4" fmla="*/ 142158 h 142527"/>
                <a:gd name="connsiteX5" fmla="*/ 110213 w 110581"/>
                <a:gd name="connsiteY5" fmla="*/ 130855 h 142527"/>
                <a:gd name="connsiteX6" fmla="*/ 78021 w 110581"/>
                <a:gd name="connsiteY6" fmla="*/ 72124 h 142527"/>
                <a:gd name="connsiteX7" fmla="*/ 78021 w 110581"/>
                <a:gd name="connsiteY7"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581" h="142527">
                  <a:moveTo>
                    <a:pt x="78021" y="72124"/>
                  </a:moveTo>
                  <a:cubicBezTo>
                    <a:pt x="78021" y="47304"/>
                    <a:pt x="90800" y="25679"/>
                    <a:pt x="110213" y="13147"/>
                  </a:cubicBezTo>
                  <a:cubicBezTo>
                    <a:pt x="99155" y="6020"/>
                    <a:pt x="86131" y="1843"/>
                    <a:pt x="72124" y="1843"/>
                  </a:cubicBezTo>
                  <a:cubicBezTo>
                    <a:pt x="33297" y="1843"/>
                    <a:pt x="1843" y="33297"/>
                    <a:pt x="1843" y="72124"/>
                  </a:cubicBezTo>
                  <a:cubicBezTo>
                    <a:pt x="1843" y="110950"/>
                    <a:pt x="33297" y="142158"/>
                    <a:pt x="72124" y="142158"/>
                  </a:cubicBezTo>
                  <a:cubicBezTo>
                    <a:pt x="86131" y="142158"/>
                    <a:pt x="99155" y="137981"/>
                    <a:pt x="110213" y="130855"/>
                  </a:cubicBezTo>
                  <a:cubicBezTo>
                    <a:pt x="90800" y="118568"/>
                    <a:pt x="78021" y="96943"/>
                    <a:pt x="78021" y="72124"/>
                  </a:cubicBezTo>
                  <a:lnTo>
                    <a:pt x="78021" y="72124"/>
                  </a:lnTo>
                  <a:close/>
                </a:path>
              </a:pathLst>
            </a:custGeom>
            <a:solidFill>
              <a:srgbClr val="FFBEAB"/>
            </a:solidFill>
            <a:ln w="9525" cap="flat">
              <a:noFill/>
              <a:prstDash val="solid"/>
              <a:miter/>
            </a:ln>
          </p:spPr>
          <p:txBody>
            <a:bodyPr rtlCol="0" anchor="ctr"/>
            <a:lstStyle/>
            <a:p>
              <a:endParaRPr lang="en-US" sz="1568"/>
            </a:p>
          </p:txBody>
        </p:sp>
        <p:sp>
          <p:nvSpPr>
            <p:cNvPr id="50" name="Freeform: Shape 49">
              <a:extLst>
                <a:ext uri="{FF2B5EF4-FFF2-40B4-BE49-F238E27FC236}">
                  <a16:creationId xmlns:a16="http://schemas.microsoft.com/office/drawing/2014/main" id="{650078AC-1531-43ED-9F3E-FC49D5FF95D7}"/>
                </a:ext>
              </a:extLst>
            </p:cNvPr>
            <p:cNvSpPr/>
            <p:nvPr/>
          </p:nvSpPr>
          <p:spPr>
            <a:xfrm>
              <a:off x="5624530" y="5300609"/>
              <a:ext cx="110581" cy="142527"/>
            </a:xfrm>
            <a:custGeom>
              <a:avLst/>
              <a:gdLst>
                <a:gd name="connsiteX0" fmla="*/ 78021 w 110581"/>
                <a:gd name="connsiteY0" fmla="*/ 72124 h 142527"/>
                <a:gd name="connsiteX1" fmla="*/ 110213 w 110581"/>
                <a:gd name="connsiteY1" fmla="*/ 13147 h 142527"/>
                <a:gd name="connsiteX2" fmla="*/ 72124 w 110581"/>
                <a:gd name="connsiteY2" fmla="*/ 1843 h 142527"/>
                <a:gd name="connsiteX3" fmla="*/ 1843 w 110581"/>
                <a:gd name="connsiteY3" fmla="*/ 72124 h 142527"/>
                <a:gd name="connsiteX4" fmla="*/ 72124 w 110581"/>
                <a:gd name="connsiteY4" fmla="*/ 142158 h 142527"/>
                <a:gd name="connsiteX5" fmla="*/ 110213 w 110581"/>
                <a:gd name="connsiteY5" fmla="*/ 130855 h 142527"/>
                <a:gd name="connsiteX6" fmla="*/ 78021 w 110581"/>
                <a:gd name="connsiteY6" fmla="*/ 72124 h 142527"/>
                <a:gd name="connsiteX7" fmla="*/ 78021 w 110581"/>
                <a:gd name="connsiteY7"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581" h="142527">
                  <a:moveTo>
                    <a:pt x="78021" y="72124"/>
                  </a:moveTo>
                  <a:cubicBezTo>
                    <a:pt x="78021" y="47304"/>
                    <a:pt x="90800" y="25679"/>
                    <a:pt x="110213" y="13147"/>
                  </a:cubicBezTo>
                  <a:cubicBezTo>
                    <a:pt x="99155" y="6020"/>
                    <a:pt x="86131" y="1843"/>
                    <a:pt x="72124" y="1843"/>
                  </a:cubicBezTo>
                  <a:cubicBezTo>
                    <a:pt x="33297" y="1843"/>
                    <a:pt x="1843" y="33297"/>
                    <a:pt x="1843" y="72124"/>
                  </a:cubicBezTo>
                  <a:cubicBezTo>
                    <a:pt x="1843" y="110950"/>
                    <a:pt x="33297" y="142158"/>
                    <a:pt x="72124" y="142158"/>
                  </a:cubicBezTo>
                  <a:cubicBezTo>
                    <a:pt x="86131" y="142158"/>
                    <a:pt x="99155" y="137981"/>
                    <a:pt x="110213" y="130855"/>
                  </a:cubicBezTo>
                  <a:cubicBezTo>
                    <a:pt x="90800" y="118568"/>
                    <a:pt x="78021" y="96943"/>
                    <a:pt x="78021" y="72124"/>
                  </a:cubicBezTo>
                  <a:lnTo>
                    <a:pt x="78021" y="72124"/>
                  </a:lnTo>
                  <a:close/>
                </a:path>
              </a:pathLst>
            </a:custGeom>
            <a:solidFill>
              <a:srgbClr val="FFBEAB"/>
            </a:solidFill>
            <a:ln w="9525" cap="flat">
              <a:noFill/>
              <a:prstDash val="solid"/>
              <a:miter/>
            </a:ln>
          </p:spPr>
          <p:txBody>
            <a:bodyPr rtlCol="0" anchor="ctr"/>
            <a:lstStyle/>
            <a:p>
              <a:endParaRPr lang="en-US" sz="1568"/>
            </a:p>
          </p:txBody>
        </p:sp>
        <p:sp>
          <p:nvSpPr>
            <p:cNvPr id="51" name="Freeform: Shape 50">
              <a:extLst>
                <a:ext uri="{FF2B5EF4-FFF2-40B4-BE49-F238E27FC236}">
                  <a16:creationId xmlns:a16="http://schemas.microsoft.com/office/drawing/2014/main" id="{DC1B47EB-611D-4855-96EC-BCF868505B8A}"/>
                </a:ext>
              </a:extLst>
            </p:cNvPr>
            <p:cNvSpPr/>
            <p:nvPr/>
          </p:nvSpPr>
          <p:spPr>
            <a:xfrm>
              <a:off x="6471092" y="4858775"/>
              <a:ext cx="110581" cy="142527"/>
            </a:xfrm>
            <a:custGeom>
              <a:avLst/>
              <a:gdLst>
                <a:gd name="connsiteX0" fmla="*/ 78021 w 110581"/>
                <a:gd name="connsiteY0" fmla="*/ 72124 h 142527"/>
                <a:gd name="connsiteX1" fmla="*/ 110213 w 110581"/>
                <a:gd name="connsiteY1" fmla="*/ 13147 h 142527"/>
                <a:gd name="connsiteX2" fmla="*/ 72124 w 110581"/>
                <a:gd name="connsiteY2" fmla="*/ 1843 h 142527"/>
                <a:gd name="connsiteX3" fmla="*/ 1843 w 110581"/>
                <a:gd name="connsiteY3" fmla="*/ 72124 h 142527"/>
                <a:gd name="connsiteX4" fmla="*/ 72124 w 110581"/>
                <a:gd name="connsiteY4" fmla="*/ 142404 h 142527"/>
                <a:gd name="connsiteX5" fmla="*/ 110213 w 110581"/>
                <a:gd name="connsiteY5" fmla="*/ 131100 h 142527"/>
                <a:gd name="connsiteX6" fmla="*/ 78021 w 110581"/>
                <a:gd name="connsiteY6" fmla="*/ 72124 h 142527"/>
                <a:gd name="connsiteX7" fmla="*/ 78021 w 110581"/>
                <a:gd name="connsiteY7"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581" h="142527">
                  <a:moveTo>
                    <a:pt x="78021" y="72124"/>
                  </a:moveTo>
                  <a:cubicBezTo>
                    <a:pt x="78021" y="47304"/>
                    <a:pt x="90800" y="25679"/>
                    <a:pt x="110213" y="13147"/>
                  </a:cubicBezTo>
                  <a:cubicBezTo>
                    <a:pt x="99155" y="6021"/>
                    <a:pt x="86131" y="1843"/>
                    <a:pt x="72124" y="1843"/>
                  </a:cubicBezTo>
                  <a:cubicBezTo>
                    <a:pt x="33297" y="1843"/>
                    <a:pt x="1843" y="33297"/>
                    <a:pt x="1843" y="72124"/>
                  </a:cubicBezTo>
                  <a:cubicBezTo>
                    <a:pt x="1843" y="110950"/>
                    <a:pt x="33297" y="142404"/>
                    <a:pt x="72124" y="142404"/>
                  </a:cubicBezTo>
                  <a:cubicBezTo>
                    <a:pt x="86131" y="142404"/>
                    <a:pt x="99155" y="138227"/>
                    <a:pt x="110213" y="131100"/>
                  </a:cubicBezTo>
                  <a:cubicBezTo>
                    <a:pt x="90800" y="118568"/>
                    <a:pt x="78021" y="96943"/>
                    <a:pt x="78021" y="72124"/>
                  </a:cubicBezTo>
                  <a:lnTo>
                    <a:pt x="78021" y="72124"/>
                  </a:lnTo>
                  <a:close/>
                </a:path>
              </a:pathLst>
            </a:custGeom>
            <a:solidFill>
              <a:srgbClr val="FFBEAB"/>
            </a:solidFill>
            <a:ln w="9525" cap="flat">
              <a:noFill/>
              <a:prstDash val="solid"/>
              <a:miter/>
            </a:ln>
          </p:spPr>
          <p:txBody>
            <a:bodyPr rtlCol="0" anchor="ctr"/>
            <a:lstStyle/>
            <a:p>
              <a:endParaRPr lang="en-US" sz="1568"/>
            </a:p>
          </p:txBody>
        </p:sp>
        <p:sp>
          <p:nvSpPr>
            <p:cNvPr id="52" name="Freeform: Shape 51">
              <a:extLst>
                <a:ext uri="{FF2B5EF4-FFF2-40B4-BE49-F238E27FC236}">
                  <a16:creationId xmlns:a16="http://schemas.microsoft.com/office/drawing/2014/main" id="{451B1027-CDC9-432E-875D-4801A850CD1F}"/>
                </a:ext>
              </a:extLst>
            </p:cNvPr>
            <p:cNvSpPr/>
            <p:nvPr/>
          </p:nvSpPr>
          <p:spPr>
            <a:xfrm>
              <a:off x="5624530" y="4858775"/>
              <a:ext cx="110581" cy="142527"/>
            </a:xfrm>
            <a:custGeom>
              <a:avLst/>
              <a:gdLst>
                <a:gd name="connsiteX0" fmla="*/ 78021 w 110581"/>
                <a:gd name="connsiteY0" fmla="*/ 72124 h 142527"/>
                <a:gd name="connsiteX1" fmla="*/ 110213 w 110581"/>
                <a:gd name="connsiteY1" fmla="*/ 13147 h 142527"/>
                <a:gd name="connsiteX2" fmla="*/ 72124 w 110581"/>
                <a:gd name="connsiteY2" fmla="*/ 1843 h 142527"/>
                <a:gd name="connsiteX3" fmla="*/ 1843 w 110581"/>
                <a:gd name="connsiteY3" fmla="*/ 72124 h 142527"/>
                <a:gd name="connsiteX4" fmla="*/ 72124 w 110581"/>
                <a:gd name="connsiteY4" fmla="*/ 142404 h 142527"/>
                <a:gd name="connsiteX5" fmla="*/ 110213 w 110581"/>
                <a:gd name="connsiteY5" fmla="*/ 131100 h 142527"/>
                <a:gd name="connsiteX6" fmla="*/ 78021 w 110581"/>
                <a:gd name="connsiteY6" fmla="*/ 72124 h 142527"/>
                <a:gd name="connsiteX7" fmla="*/ 78021 w 110581"/>
                <a:gd name="connsiteY7"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581" h="142527">
                  <a:moveTo>
                    <a:pt x="78021" y="72124"/>
                  </a:moveTo>
                  <a:cubicBezTo>
                    <a:pt x="78021" y="47304"/>
                    <a:pt x="90800" y="25679"/>
                    <a:pt x="110213" y="13147"/>
                  </a:cubicBezTo>
                  <a:cubicBezTo>
                    <a:pt x="99155" y="6021"/>
                    <a:pt x="86131" y="1843"/>
                    <a:pt x="72124" y="1843"/>
                  </a:cubicBezTo>
                  <a:cubicBezTo>
                    <a:pt x="33297" y="1843"/>
                    <a:pt x="1843" y="33297"/>
                    <a:pt x="1843" y="72124"/>
                  </a:cubicBezTo>
                  <a:cubicBezTo>
                    <a:pt x="1843" y="110950"/>
                    <a:pt x="33297" y="142404"/>
                    <a:pt x="72124" y="142404"/>
                  </a:cubicBezTo>
                  <a:cubicBezTo>
                    <a:pt x="86131" y="142404"/>
                    <a:pt x="99155" y="138227"/>
                    <a:pt x="110213" y="131100"/>
                  </a:cubicBezTo>
                  <a:cubicBezTo>
                    <a:pt x="90800" y="118568"/>
                    <a:pt x="78021" y="96943"/>
                    <a:pt x="78021" y="72124"/>
                  </a:cubicBezTo>
                  <a:lnTo>
                    <a:pt x="78021" y="72124"/>
                  </a:lnTo>
                  <a:close/>
                </a:path>
              </a:pathLst>
            </a:custGeom>
            <a:solidFill>
              <a:srgbClr val="FFBEAB"/>
            </a:solidFill>
            <a:ln w="9525" cap="flat">
              <a:noFill/>
              <a:prstDash val="solid"/>
              <a:miter/>
            </a:ln>
          </p:spPr>
          <p:txBody>
            <a:bodyPr rtlCol="0" anchor="ctr"/>
            <a:lstStyle/>
            <a:p>
              <a:endParaRPr lang="en-US" sz="1568"/>
            </a:p>
          </p:txBody>
        </p:sp>
        <p:sp>
          <p:nvSpPr>
            <p:cNvPr id="53" name="Freeform: Shape 52">
              <a:extLst>
                <a:ext uri="{FF2B5EF4-FFF2-40B4-BE49-F238E27FC236}">
                  <a16:creationId xmlns:a16="http://schemas.microsoft.com/office/drawing/2014/main" id="{7DF31664-50D1-4BFF-BAA1-02F839E51A76}"/>
                </a:ext>
              </a:extLst>
            </p:cNvPr>
            <p:cNvSpPr/>
            <p:nvPr/>
          </p:nvSpPr>
          <p:spPr>
            <a:xfrm>
              <a:off x="6047688" y="4607387"/>
              <a:ext cx="110581" cy="142527"/>
            </a:xfrm>
            <a:custGeom>
              <a:avLst/>
              <a:gdLst>
                <a:gd name="connsiteX0" fmla="*/ 78021 w 110581"/>
                <a:gd name="connsiteY0" fmla="*/ 72124 h 142527"/>
                <a:gd name="connsiteX1" fmla="*/ 110213 w 110581"/>
                <a:gd name="connsiteY1" fmla="*/ 13147 h 142527"/>
                <a:gd name="connsiteX2" fmla="*/ 72124 w 110581"/>
                <a:gd name="connsiteY2" fmla="*/ 1843 h 142527"/>
                <a:gd name="connsiteX3" fmla="*/ 1843 w 110581"/>
                <a:gd name="connsiteY3" fmla="*/ 72124 h 142527"/>
                <a:gd name="connsiteX4" fmla="*/ 72124 w 110581"/>
                <a:gd name="connsiteY4" fmla="*/ 142404 h 142527"/>
                <a:gd name="connsiteX5" fmla="*/ 110213 w 110581"/>
                <a:gd name="connsiteY5" fmla="*/ 131100 h 142527"/>
                <a:gd name="connsiteX6" fmla="*/ 78021 w 110581"/>
                <a:gd name="connsiteY6" fmla="*/ 72124 h 142527"/>
                <a:gd name="connsiteX7" fmla="*/ 78021 w 110581"/>
                <a:gd name="connsiteY7"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581" h="142527">
                  <a:moveTo>
                    <a:pt x="78021" y="72124"/>
                  </a:moveTo>
                  <a:cubicBezTo>
                    <a:pt x="78021" y="47304"/>
                    <a:pt x="90800" y="25679"/>
                    <a:pt x="110213" y="13147"/>
                  </a:cubicBezTo>
                  <a:cubicBezTo>
                    <a:pt x="99400" y="6021"/>
                    <a:pt x="86131" y="1843"/>
                    <a:pt x="72124" y="1843"/>
                  </a:cubicBezTo>
                  <a:cubicBezTo>
                    <a:pt x="33297" y="1843"/>
                    <a:pt x="1843" y="33297"/>
                    <a:pt x="1843" y="72124"/>
                  </a:cubicBezTo>
                  <a:cubicBezTo>
                    <a:pt x="1843" y="110950"/>
                    <a:pt x="33297" y="142404"/>
                    <a:pt x="72124" y="142404"/>
                  </a:cubicBezTo>
                  <a:cubicBezTo>
                    <a:pt x="86131" y="142404"/>
                    <a:pt x="99155" y="138227"/>
                    <a:pt x="110213" y="131100"/>
                  </a:cubicBezTo>
                  <a:cubicBezTo>
                    <a:pt x="90800" y="118568"/>
                    <a:pt x="78021" y="96697"/>
                    <a:pt x="78021" y="72124"/>
                  </a:cubicBezTo>
                  <a:lnTo>
                    <a:pt x="78021" y="72124"/>
                  </a:lnTo>
                  <a:close/>
                </a:path>
              </a:pathLst>
            </a:custGeom>
            <a:solidFill>
              <a:srgbClr val="FFBEAB"/>
            </a:solidFill>
            <a:ln w="9525" cap="flat">
              <a:noFill/>
              <a:prstDash val="solid"/>
              <a:miter/>
            </a:ln>
          </p:spPr>
          <p:txBody>
            <a:bodyPr rtlCol="0" anchor="ctr"/>
            <a:lstStyle/>
            <a:p>
              <a:endParaRPr lang="en-US" sz="1568"/>
            </a:p>
          </p:txBody>
        </p:sp>
        <p:sp>
          <p:nvSpPr>
            <p:cNvPr id="54" name="Freeform: Shape 53">
              <a:extLst>
                <a:ext uri="{FF2B5EF4-FFF2-40B4-BE49-F238E27FC236}">
                  <a16:creationId xmlns:a16="http://schemas.microsoft.com/office/drawing/2014/main" id="{1C830915-6680-49A6-B25C-64846FA0E2A0}"/>
                </a:ext>
              </a:extLst>
            </p:cNvPr>
            <p:cNvSpPr/>
            <p:nvPr/>
          </p:nvSpPr>
          <p:spPr>
            <a:xfrm>
              <a:off x="6047688" y="5578291"/>
              <a:ext cx="110581" cy="142527"/>
            </a:xfrm>
            <a:custGeom>
              <a:avLst/>
              <a:gdLst>
                <a:gd name="connsiteX0" fmla="*/ 78021 w 110581"/>
                <a:gd name="connsiteY0" fmla="*/ 72124 h 142527"/>
                <a:gd name="connsiteX1" fmla="*/ 110213 w 110581"/>
                <a:gd name="connsiteY1" fmla="*/ 13147 h 142527"/>
                <a:gd name="connsiteX2" fmla="*/ 72124 w 110581"/>
                <a:gd name="connsiteY2" fmla="*/ 1843 h 142527"/>
                <a:gd name="connsiteX3" fmla="*/ 1843 w 110581"/>
                <a:gd name="connsiteY3" fmla="*/ 72124 h 142527"/>
                <a:gd name="connsiteX4" fmla="*/ 72124 w 110581"/>
                <a:gd name="connsiteY4" fmla="*/ 142404 h 142527"/>
                <a:gd name="connsiteX5" fmla="*/ 110213 w 110581"/>
                <a:gd name="connsiteY5" fmla="*/ 131100 h 142527"/>
                <a:gd name="connsiteX6" fmla="*/ 78021 w 110581"/>
                <a:gd name="connsiteY6" fmla="*/ 72124 h 142527"/>
                <a:gd name="connsiteX7" fmla="*/ 78021 w 110581"/>
                <a:gd name="connsiteY7" fmla="*/ 72124 h 14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581" h="142527">
                  <a:moveTo>
                    <a:pt x="78021" y="72124"/>
                  </a:moveTo>
                  <a:cubicBezTo>
                    <a:pt x="78021" y="47304"/>
                    <a:pt x="90800" y="25679"/>
                    <a:pt x="110213" y="13147"/>
                  </a:cubicBezTo>
                  <a:cubicBezTo>
                    <a:pt x="99155" y="6020"/>
                    <a:pt x="86131" y="1843"/>
                    <a:pt x="72124" y="1843"/>
                  </a:cubicBezTo>
                  <a:cubicBezTo>
                    <a:pt x="33297" y="1843"/>
                    <a:pt x="1843" y="33297"/>
                    <a:pt x="1843" y="72124"/>
                  </a:cubicBezTo>
                  <a:cubicBezTo>
                    <a:pt x="1843" y="110950"/>
                    <a:pt x="33297" y="142404"/>
                    <a:pt x="72124" y="142404"/>
                  </a:cubicBezTo>
                  <a:cubicBezTo>
                    <a:pt x="86131" y="142404"/>
                    <a:pt x="99155" y="138227"/>
                    <a:pt x="110213" y="131100"/>
                  </a:cubicBezTo>
                  <a:cubicBezTo>
                    <a:pt x="90800" y="118568"/>
                    <a:pt x="78021" y="96943"/>
                    <a:pt x="78021" y="72124"/>
                  </a:cubicBezTo>
                  <a:lnTo>
                    <a:pt x="78021" y="72124"/>
                  </a:lnTo>
                  <a:close/>
                </a:path>
              </a:pathLst>
            </a:custGeom>
            <a:solidFill>
              <a:srgbClr val="FFBEAB"/>
            </a:solidFill>
            <a:ln w="9525" cap="flat">
              <a:noFill/>
              <a:prstDash val="solid"/>
              <a:miter/>
            </a:ln>
          </p:spPr>
          <p:txBody>
            <a:bodyPr rtlCol="0" anchor="ctr"/>
            <a:lstStyle/>
            <a:p>
              <a:endParaRPr lang="en-US" sz="1568"/>
            </a:p>
          </p:txBody>
        </p:sp>
        <p:sp>
          <p:nvSpPr>
            <p:cNvPr id="55" name="Freeform: Shape 54">
              <a:extLst>
                <a:ext uri="{FF2B5EF4-FFF2-40B4-BE49-F238E27FC236}">
                  <a16:creationId xmlns:a16="http://schemas.microsoft.com/office/drawing/2014/main" id="{4CC11E15-AEE4-4FDD-80B2-E782DC297951}"/>
                </a:ext>
              </a:extLst>
            </p:cNvPr>
            <p:cNvSpPr/>
            <p:nvPr/>
          </p:nvSpPr>
          <p:spPr>
            <a:xfrm>
              <a:off x="6003210" y="5718852"/>
              <a:ext cx="230992" cy="149899"/>
            </a:xfrm>
            <a:custGeom>
              <a:avLst/>
              <a:gdLst>
                <a:gd name="connsiteX0" fmla="*/ 156411 w 230992"/>
                <a:gd name="connsiteY0" fmla="*/ 1843 h 149899"/>
                <a:gd name="connsiteX1" fmla="*/ 77038 w 230992"/>
                <a:gd name="connsiteY1" fmla="*/ 1843 h 149899"/>
                <a:gd name="connsiteX2" fmla="*/ 1843 w 230992"/>
                <a:gd name="connsiteY2" fmla="*/ 77038 h 149899"/>
                <a:gd name="connsiteX3" fmla="*/ 1843 w 230992"/>
                <a:gd name="connsiteY3" fmla="*/ 135769 h 149899"/>
                <a:gd name="connsiteX4" fmla="*/ 14621 w 230992"/>
                <a:gd name="connsiteY4" fmla="*/ 148548 h 149899"/>
                <a:gd name="connsiteX5" fmla="*/ 218828 w 230992"/>
                <a:gd name="connsiteY5" fmla="*/ 148548 h 149899"/>
                <a:gd name="connsiteX6" fmla="*/ 231606 w 230992"/>
                <a:gd name="connsiteY6" fmla="*/ 135769 h 149899"/>
                <a:gd name="connsiteX7" fmla="*/ 231606 w 230992"/>
                <a:gd name="connsiteY7" fmla="*/ 77038 h 149899"/>
                <a:gd name="connsiteX8" fmla="*/ 156411 w 230992"/>
                <a:gd name="connsiteY8" fmla="*/ 1843 h 149899"/>
                <a:gd name="connsiteX9" fmla="*/ 156411 w 230992"/>
                <a:gd name="connsiteY9" fmla="*/ 1843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0992" h="149899">
                  <a:moveTo>
                    <a:pt x="156411" y="1843"/>
                  </a:moveTo>
                  <a:lnTo>
                    <a:pt x="77038" y="1843"/>
                  </a:lnTo>
                  <a:cubicBezTo>
                    <a:pt x="35755" y="1843"/>
                    <a:pt x="1843" y="35755"/>
                    <a:pt x="1843" y="77038"/>
                  </a:cubicBezTo>
                  <a:lnTo>
                    <a:pt x="1843" y="135769"/>
                  </a:lnTo>
                  <a:cubicBezTo>
                    <a:pt x="1843" y="142896"/>
                    <a:pt x="7495" y="148548"/>
                    <a:pt x="14621" y="148548"/>
                  </a:cubicBezTo>
                  <a:lnTo>
                    <a:pt x="218828" y="148548"/>
                  </a:lnTo>
                  <a:cubicBezTo>
                    <a:pt x="225955" y="148548"/>
                    <a:pt x="231606" y="142896"/>
                    <a:pt x="231606" y="135769"/>
                  </a:cubicBezTo>
                  <a:lnTo>
                    <a:pt x="231606" y="77038"/>
                  </a:lnTo>
                  <a:cubicBezTo>
                    <a:pt x="231606" y="35509"/>
                    <a:pt x="197695" y="1843"/>
                    <a:pt x="156411" y="1843"/>
                  </a:cubicBezTo>
                  <a:lnTo>
                    <a:pt x="156411" y="1843"/>
                  </a:lnTo>
                  <a:close/>
                </a:path>
              </a:pathLst>
            </a:custGeom>
            <a:solidFill>
              <a:srgbClr val="FF6B6B"/>
            </a:solidFill>
            <a:ln w="9525" cap="flat">
              <a:noFill/>
              <a:prstDash val="solid"/>
              <a:miter/>
            </a:ln>
          </p:spPr>
          <p:txBody>
            <a:bodyPr rtlCol="0" anchor="ctr"/>
            <a:lstStyle/>
            <a:p>
              <a:endParaRPr lang="en-US" sz="1568"/>
            </a:p>
          </p:txBody>
        </p:sp>
        <p:sp>
          <p:nvSpPr>
            <p:cNvPr id="56" name="Freeform: Shape 55">
              <a:extLst>
                <a:ext uri="{FF2B5EF4-FFF2-40B4-BE49-F238E27FC236}">
                  <a16:creationId xmlns:a16="http://schemas.microsoft.com/office/drawing/2014/main" id="{5D524179-5955-45AD-84DF-0360BEFD5498}"/>
                </a:ext>
              </a:extLst>
            </p:cNvPr>
            <p:cNvSpPr/>
            <p:nvPr/>
          </p:nvSpPr>
          <p:spPr>
            <a:xfrm>
              <a:off x="6003210" y="5718852"/>
              <a:ext cx="127783" cy="149899"/>
            </a:xfrm>
            <a:custGeom>
              <a:avLst/>
              <a:gdLst>
                <a:gd name="connsiteX0" fmla="*/ 52465 w 127782"/>
                <a:gd name="connsiteY0" fmla="*/ 135769 h 149899"/>
                <a:gd name="connsiteX1" fmla="*/ 52465 w 127782"/>
                <a:gd name="connsiteY1" fmla="*/ 77038 h 149899"/>
                <a:gd name="connsiteX2" fmla="*/ 127660 w 127782"/>
                <a:gd name="connsiteY2" fmla="*/ 1843 h 149899"/>
                <a:gd name="connsiteX3" fmla="*/ 77038 w 127782"/>
                <a:gd name="connsiteY3" fmla="*/ 1843 h 149899"/>
                <a:gd name="connsiteX4" fmla="*/ 1843 w 127782"/>
                <a:gd name="connsiteY4" fmla="*/ 77038 h 149899"/>
                <a:gd name="connsiteX5" fmla="*/ 1843 w 127782"/>
                <a:gd name="connsiteY5" fmla="*/ 135769 h 149899"/>
                <a:gd name="connsiteX6" fmla="*/ 14621 w 127782"/>
                <a:gd name="connsiteY6" fmla="*/ 148548 h 149899"/>
                <a:gd name="connsiteX7" fmla="*/ 65243 w 127782"/>
                <a:gd name="connsiteY7" fmla="*/ 148548 h 149899"/>
                <a:gd name="connsiteX8" fmla="*/ 52465 w 127782"/>
                <a:gd name="connsiteY8" fmla="*/ 135769 h 149899"/>
                <a:gd name="connsiteX9" fmla="*/ 52465 w 127782"/>
                <a:gd name="connsiteY9" fmla="*/ 135769 h 149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782" h="149899">
                  <a:moveTo>
                    <a:pt x="52465" y="135769"/>
                  </a:moveTo>
                  <a:lnTo>
                    <a:pt x="52465" y="77038"/>
                  </a:lnTo>
                  <a:cubicBezTo>
                    <a:pt x="52465" y="35755"/>
                    <a:pt x="86376" y="1843"/>
                    <a:pt x="127660" y="1843"/>
                  </a:cubicBezTo>
                  <a:lnTo>
                    <a:pt x="77038" y="1843"/>
                  </a:lnTo>
                  <a:cubicBezTo>
                    <a:pt x="35755" y="1843"/>
                    <a:pt x="1843" y="35755"/>
                    <a:pt x="1843" y="77038"/>
                  </a:cubicBezTo>
                  <a:lnTo>
                    <a:pt x="1843" y="135769"/>
                  </a:lnTo>
                  <a:cubicBezTo>
                    <a:pt x="1843" y="142896"/>
                    <a:pt x="7495" y="148548"/>
                    <a:pt x="14621" y="148548"/>
                  </a:cubicBezTo>
                  <a:lnTo>
                    <a:pt x="65243" y="148548"/>
                  </a:lnTo>
                  <a:cubicBezTo>
                    <a:pt x="58117" y="148548"/>
                    <a:pt x="52465" y="142896"/>
                    <a:pt x="52465" y="135769"/>
                  </a:cubicBezTo>
                  <a:lnTo>
                    <a:pt x="52465" y="135769"/>
                  </a:lnTo>
                  <a:close/>
                </a:path>
              </a:pathLst>
            </a:custGeom>
            <a:solidFill>
              <a:srgbClr val="EE5253"/>
            </a:solidFill>
            <a:ln w="9525" cap="flat">
              <a:noFill/>
              <a:prstDash val="solid"/>
              <a:miter/>
            </a:ln>
          </p:spPr>
          <p:txBody>
            <a:bodyPr rtlCol="0" anchor="ctr"/>
            <a:lstStyle/>
            <a:p>
              <a:endParaRPr lang="en-US" sz="1568"/>
            </a:p>
          </p:txBody>
        </p:sp>
        <p:sp>
          <p:nvSpPr>
            <p:cNvPr id="57" name="Freeform: Shape 56">
              <a:extLst>
                <a:ext uri="{FF2B5EF4-FFF2-40B4-BE49-F238E27FC236}">
                  <a16:creationId xmlns:a16="http://schemas.microsoft.com/office/drawing/2014/main" id="{4EA67B90-C8BC-47FB-BC02-89719D492C57}"/>
                </a:ext>
              </a:extLst>
            </p:cNvPr>
            <p:cNvSpPr/>
            <p:nvPr/>
          </p:nvSpPr>
          <p:spPr>
            <a:xfrm>
              <a:off x="6156303" y="5772423"/>
              <a:ext cx="39318" cy="95837"/>
            </a:xfrm>
            <a:custGeom>
              <a:avLst/>
              <a:gdLst>
                <a:gd name="connsiteX0" fmla="*/ 39686 w 39317"/>
                <a:gd name="connsiteY0" fmla="*/ 20765 h 95837"/>
                <a:gd name="connsiteX1" fmla="*/ 20765 w 39317"/>
                <a:gd name="connsiteY1" fmla="*/ 1843 h 95837"/>
                <a:gd name="connsiteX2" fmla="*/ 1843 w 39317"/>
                <a:gd name="connsiteY2" fmla="*/ 20765 h 95837"/>
                <a:gd name="connsiteX3" fmla="*/ 1843 w 39317"/>
                <a:gd name="connsiteY3" fmla="*/ 94977 h 95837"/>
                <a:gd name="connsiteX4" fmla="*/ 39686 w 39317"/>
                <a:gd name="connsiteY4" fmla="*/ 94977 h 95837"/>
                <a:gd name="connsiteX5" fmla="*/ 39686 w 39317"/>
                <a:gd name="connsiteY5" fmla="*/ 20765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17" h="95837">
                  <a:moveTo>
                    <a:pt x="39686" y="20765"/>
                  </a:moveTo>
                  <a:cubicBezTo>
                    <a:pt x="39686" y="10198"/>
                    <a:pt x="31086" y="1843"/>
                    <a:pt x="20765" y="1843"/>
                  </a:cubicBezTo>
                  <a:cubicBezTo>
                    <a:pt x="10198" y="1843"/>
                    <a:pt x="1843" y="10444"/>
                    <a:pt x="1843" y="20765"/>
                  </a:cubicBezTo>
                  <a:lnTo>
                    <a:pt x="1843" y="94977"/>
                  </a:lnTo>
                  <a:lnTo>
                    <a:pt x="39686" y="94977"/>
                  </a:lnTo>
                  <a:lnTo>
                    <a:pt x="39686" y="20765"/>
                  </a:lnTo>
                  <a:close/>
                </a:path>
              </a:pathLst>
            </a:custGeom>
            <a:solidFill>
              <a:srgbClr val="EE5253"/>
            </a:solidFill>
            <a:ln w="9525" cap="flat">
              <a:noFill/>
              <a:prstDash val="solid"/>
              <a:miter/>
            </a:ln>
          </p:spPr>
          <p:txBody>
            <a:bodyPr rtlCol="0" anchor="ctr"/>
            <a:lstStyle/>
            <a:p>
              <a:endParaRPr lang="en-US" sz="1568"/>
            </a:p>
          </p:txBody>
        </p:sp>
        <p:sp>
          <p:nvSpPr>
            <p:cNvPr id="58" name="Freeform: Shape 57">
              <a:extLst>
                <a:ext uri="{FF2B5EF4-FFF2-40B4-BE49-F238E27FC236}">
                  <a16:creationId xmlns:a16="http://schemas.microsoft.com/office/drawing/2014/main" id="{263DECCE-5932-493F-8B9C-9E8EC4DCAA56}"/>
                </a:ext>
              </a:extLst>
            </p:cNvPr>
            <p:cNvSpPr/>
            <p:nvPr/>
          </p:nvSpPr>
          <p:spPr>
            <a:xfrm>
              <a:off x="6042036" y="5772423"/>
              <a:ext cx="39318" cy="95837"/>
            </a:xfrm>
            <a:custGeom>
              <a:avLst/>
              <a:gdLst>
                <a:gd name="connsiteX0" fmla="*/ 39686 w 39317"/>
                <a:gd name="connsiteY0" fmla="*/ 94977 h 95837"/>
                <a:gd name="connsiteX1" fmla="*/ 39686 w 39317"/>
                <a:gd name="connsiteY1" fmla="*/ 20765 h 95837"/>
                <a:gd name="connsiteX2" fmla="*/ 20765 w 39317"/>
                <a:gd name="connsiteY2" fmla="*/ 1843 h 95837"/>
                <a:gd name="connsiteX3" fmla="*/ 1843 w 39317"/>
                <a:gd name="connsiteY3" fmla="*/ 20765 h 95837"/>
                <a:gd name="connsiteX4" fmla="*/ 1843 w 39317"/>
                <a:gd name="connsiteY4" fmla="*/ 94977 h 95837"/>
                <a:gd name="connsiteX5" fmla="*/ 39686 w 39317"/>
                <a:gd name="connsiteY5" fmla="*/ 94977 h 9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317" h="95837">
                  <a:moveTo>
                    <a:pt x="39686" y="94977"/>
                  </a:moveTo>
                  <a:lnTo>
                    <a:pt x="39686" y="20765"/>
                  </a:lnTo>
                  <a:cubicBezTo>
                    <a:pt x="39686" y="10198"/>
                    <a:pt x="31086" y="1843"/>
                    <a:pt x="20765" y="1843"/>
                  </a:cubicBezTo>
                  <a:cubicBezTo>
                    <a:pt x="10198" y="1843"/>
                    <a:pt x="1843" y="10444"/>
                    <a:pt x="1843" y="20765"/>
                  </a:cubicBezTo>
                  <a:lnTo>
                    <a:pt x="1843" y="94977"/>
                  </a:lnTo>
                  <a:lnTo>
                    <a:pt x="39686" y="94977"/>
                  </a:lnTo>
                  <a:close/>
                </a:path>
              </a:pathLst>
            </a:custGeom>
            <a:solidFill>
              <a:srgbClr val="EE5253"/>
            </a:solidFill>
            <a:ln w="9525" cap="flat">
              <a:noFill/>
              <a:prstDash val="solid"/>
              <a:miter/>
            </a:ln>
          </p:spPr>
          <p:txBody>
            <a:bodyPr rtlCol="0" anchor="ctr"/>
            <a:lstStyle/>
            <a:p>
              <a:endParaRPr lang="en-US" sz="1568"/>
            </a:p>
          </p:txBody>
        </p:sp>
      </p:grpSp>
      <p:sp>
        <p:nvSpPr>
          <p:cNvPr id="59" name="Flowchart: Delay 58">
            <a:extLst>
              <a:ext uri="{FF2B5EF4-FFF2-40B4-BE49-F238E27FC236}">
                <a16:creationId xmlns:a16="http://schemas.microsoft.com/office/drawing/2014/main" id="{A9E25E5F-4E13-4E65-8826-3A30D51B0F68}"/>
              </a:ext>
            </a:extLst>
          </p:cNvPr>
          <p:cNvSpPr/>
          <p:nvPr/>
        </p:nvSpPr>
        <p:spPr>
          <a:xfrm flipH="1">
            <a:off x="5156280" y="2472839"/>
            <a:ext cx="3805158" cy="4248636"/>
          </a:xfrm>
          <a:prstGeom prst="flowChartDelay">
            <a:avLst/>
          </a:prstGeom>
          <a:blipFill dpi="0" rotWithShape="0">
            <a:blip r:embed="rId4"/>
            <a:srcRect/>
            <a:stretch>
              <a:fillRect r="-90086"/>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68"/>
          </a:p>
        </p:txBody>
      </p:sp>
    </p:spTree>
    <p:custDataLst>
      <p:tags r:id="rId1"/>
    </p:custDataLst>
    <p:extLst>
      <p:ext uri="{BB962C8B-B14F-4D97-AF65-F5344CB8AC3E}">
        <p14:creationId xmlns:p14="http://schemas.microsoft.com/office/powerpoint/2010/main" val="5398709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Solid Colo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FA87961-ACE2-48C4-8C84-0B340CBB0507}"/>
              </a:ext>
            </a:extLst>
          </p:cNvPr>
          <p:cNvSpPr/>
          <p:nvPr/>
        </p:nvSpPr>
        <p:spPr>
          <a:xfrm>
            <a:off x="0" y="1039339"/>
            <a:ext cx="8961438" cy="56821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68" dirty="0"/>
          </a:p>
        </p:txBody>
      </p:sp>
      <p:sp>
        <p:nvSpPr>
          <p:cNvPr id="8" name="Rectangle 7">
            <a:extLst>
              <a:ext uri="{FF2B5EF4-FFF2-40B4-BE49-F238E27FC236}">
                <a16:creationId xmlns:a16="http://schemas.microsoft.com/office/drawing/2014/main" id="{D6B98CD2-F0B5-445F-BA7E-ECC0032501DB}"/>
              </a:ext>
            </a:extLst>
          </p:cNvPr>
          <p:cNvSpPr/>
          <p:nvPr/>
        </p:nvSpPr>
        <p:spPr>
          <a:xfrm>
            <a:off x="2342048" y="305483"/>
            <a:ext cx="6314701" cy="512804"/>
          </a:xfrm>
          <a:prstGeom prst="rect">
            <a:avLst/>
          </a:prstGeom>
        </p:spPr>
        <p:txBody>
          <a:bodyPr wrap="square">
            <a:spAutoFit/>
          </a:bodyPr>
          <a:lstStyle/>
          <a:p>
            <a:pPr algn="r" defTabSz="896112"/>
            <a:r>
              <a:rPr lang="en-US" sz="1372" b="0" dirty="0">
                <a:solidFill>
                  <a:srgbClr val="BA0C2F"/>
                </a:solidFill>
                <a:latin typeface="Gill Sans MT"/>
              </a:rPr>
              <a:t>USAID GLOBAL HEALTH SUPPLY CHAIN PROGRAM</a:t>
            </a:r>
          </a:p>
          <a:p>
            <a:pPr algn="r" defTabSz="896112">
              <a:defRPr/>
            </a:pPr>
            <a:r>
              <a:rPr lang="en-US" sz="1372" dirty="0">
                <a:solidFill>
                  <a:srgbClr val="6C6463"/>
                </a:solidFill>
                <a:latin typeface="Gill Sans MT"/>
              </a:rPr>
              <a:t>Procurement and Supply Management</a:t>
            </a:r>
          </a:p>
        </p:txBody>
      </p:sp>
      <p:pic>
        <p:nvPicPr>
          <p:cNvPr id="9" name="Picture 8" descr="A close up of a sign&#10;&#10;Description generated with very high confidence">
            <a:extLst>
              <a:ext uri="{FF2B5EF4-FFF2-40B4-BE49-F238E27FC236}">
                <a16:creationId xmlns:a16="http://schemas.microsoft.com/office/drawing/2014/main" id="{D90DACBC-64C4-48E6-B966-5246E4D763D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1041" y="237761"/>
            <a:ext cx="2177634" cy="648250"/>
          </a:xfrm>
          <a:prstGeom prst="rect">
            <a:avLst/>
          </a:prstGeom>
        </p:spPr>
      </p:pic>
      <p:sp>
        <p:nvSpPr>
          <p:cNvPr id="113" name="Flowchart: Delay 112">
            <a:extLst>
              <a:ext uri="{FF2B5EF4-FFF2-40B4-BE49-F238E27FC236}">
                <a16:creationId xmlns:a16="http://schemas.microsoft.com/office/drawing/2014/main" id="{DB2942BD-0E38-442B-A4C3-E68ED108C26E}"/>
              </a:ext>
            </a:extLst>
          </p:cNvPr>
          <p:cNvSpPr/>
          <p:nvPr/>
        </p:nvSpPr>
        <p:spPr>
          <a:xfrm flipH="1">
            <a:off x="5156280" y="2472839"/>
            <a:ext cx="3805158" cy="4248636"/>
          </a:xfrm>
          <a:prstGeom prst="flowChartDelay">
            <a:avLst/>
          </a:prstGeom>
          <a:blipFill dpi="0" rotWithShape="0">
            <a:blip r:embed="rId4"/>
            <a:srcRect/>
            <a:stretch>
              <a:fillRect r="-90086"/>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68"/>
          </a:p>
        </p:txBody>
      </p:sp>
      <p:sp>
        <p:nvSpPr>
          <p:cNvPr id="114" name="Title 1">
            <a:extLst>
              <a:ext uri="{FF2B5EF4-FFF2-40B4-BE49-F238E27FC236}">
                <a16:creationId xmlns:a16="http://schemas.microsoft.com/office/drawing/2014/main" id="{EF3AD255-3E62-4B3E-9EC0-10A8CDE7CE9E}"/>
              </a:ext>
            </a:extLst>
          </p:cNvPr>
          <p:cNvSpPr>
            <a:spLocks noGrp="1"/>
          </p:cNvSpPr>
          <p:nvPr>
            <p:ph type="ctrTitle" hasCustomPrompt="1"/>
          </p:nvPr>
        </p:nvSpPr>
        <p:spPr>
          <a:xfrm>
            <a:off x="360308" y="2945834"/>
            <a:ext cx="7923048" cy="1278600"/>
          </a:xfrm>
        </p:spPr>
        <p:txBody>
          <a:bodyPr anchor="b">
            <a:normAutofit/>
          </a:bodyPr>
          <a:lstStyle>
            <a:lvl1pPr algn="l">
              <a:defRPr sz="3920">
                <a:solidFill>
                  <a:schemeClr val="bg1"/>
                </a:solidFill>
              </a:defRPr>
            </a:lvl1pPr>
          </a:lstStyle>
          <a:p>
            <a:r>
              <a:rPr lang="en-US" dirty="0"/>
              <a:t>Click to insert title</a:t>
            </a:r>
          </a:p>
        </p:txBody>
      </p:sp>
      <p:sp>
        <p:nvSpPr>
          <p:cNvPr id="115" name="Subtitle 2">
            <a:extLst>
              <a:ext uri="{FF2B5EF4-FFF2-40B4-BE49-F238E27FC236}">
                <a16:creationId xmlns:a16="http://schemas.microsoft.com/office/drawing/2014/main" id="{61A6C1D9-0F3F-4A23-ADDA-DAA35588CE18}"/>
              </a:ext>
            </a:extLst>
          </p:cNvPr>
          <p:cNvSpPr>
            <a:spLocks noGrp="1"/>
          </p:cNvSpPr>
          <p:nvPr>
            <p:ph type="subTitle" idx="1" hasCustomPrompt="1"/>
          </p:nvPr>
        </p:nvSpPr>
        <p:spPr>
          <a:xfrm>
            <a:off x="360308" y="4475368"/>
            <a:ext cx="7923048" cy="407766"/>
          </a:xfrm>
        </p:spPr>
        <p:txBody>
          <a:bodyPr>
            <a:noAutofit/>
          </a:bodyPr>
          <a:lstStyle>
            <a:lvl1pPr marL="0" indent="0" algn="l">
              <a:buNone/>
              <a:defRPr sz="2352">
                <a:solidFill>
                  <a:schemeClr val="bg1"/>
                </a:solidFill>
              </a:defRPr>
            </a:lvl1pPr>
            <a:lvl2pPr marL="448056" indent="0" algn="ctr">
              <a:buNone/>
              <a:defRPr sz="1960"/>
            </a:lvl2pPr>
            <a:lvl3pPr marL="896112" indent="0" algn="ctr">
              <a:buNone/>
              <a:defRPr sz="1764"/>
            </a:lvl3pPr>
            <a:lvl4pPr marL="1344168" indent="0" algn="ctr">
              <a:buNone/>
              <a:defRPr sz="1568"/>
            </a:lvl4pPr>
            <a:lvl5pPr marL="1792224" indent="0" algn="ctr">
              <a:buNone/>
              <a:defRPr sz="1568"/>
            </a:lvl5pPr>
            <a:lvl6pPr marL="2240280" indent="0" algn="ctr">
              <a:buNone/>
              <a:defRPr sz="1568"/>
            </a:lvl6pPr>
            <a:lvl7pPr marL="2688336" indent="0" algn="ctr">
              <a:buNone/>
              <a:defRPr sz="1568"/>
            </a:lvl7pPr>
            <a:lvl8pPr marL="3136392" indent="0" algn="ctr">
              <a:buNone/>
              <a:defRPr sz="1568"/>
            </a:lvl8pPr>
            <a:lvl9pPr marL="3584448" indent="0" algn="ctr">
              <a:buNone/>
              <a:defRPr sz="1568"/>
            </a:lvl9pPr>
          </a:lstStyle>
          <a:p>
            <a:r>
              <a:rPr lang="en-US" dirty="0"/>
              <a:t>Click to insert date and/or author</a:t>
            </a:r>
          </a:p>
        </p:txBody>
      </p:sp>
    </p:spTree>
    <p:custDataLst>
      <p:tags r:id="rId1"/>
    </p:custDataLst>
    <p:extLst>
      <p:ext uri="{BB962C8B-B14F-4D97-AF65-F5344CB8AC3E}">
        <p14:creationId xmlns:p14="http://schemas.microsoft.com/office/powerpoint/2010/main" val="12278907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Basic PPT Slide</a:t>
            </a:r>
          </a:p>
        </p:txBody>
      </p:sp>
      <p:sp>
        <p:nvSpPr>
          <p:cNvPr id="3" name="Content Placeholder 2"/>
          <p:cNvSpPr>
            <a:spLocks noGrp="1"/>
          </p:cNvSpPr>
          <p:nvPr>
            <p:ph idx="1" hasCustomPrompt="1"/>
          </p:nvPr>
        </p:nvSpPr>
        <p:spPr/>
        <p:txBody>
          <a:bodyPr/>
          <a:lstStyle>
            <a:lvl1pPr>
              <a:lnSpc>
                <a:spcPct val="100000"/>
              </a:lnSpc>
              <a:spcBef>
                <a:spcPts val="1176"/>
              </a:spcBef>
              <a:buClr>
                <a:srgbClr val="6C6463"/>
              </a:buClr>
              <a:defRPr>
                <a:solidFill>
                  <a:srgbClr val="6C6463"/>
                </a:solidFill>
              </a:defRPr>
            </a:lvl1pPr>
            <a:lvl2pPr marL="672084" indent="-224028">
              <a:lnSpc>
                <a:spcPct val="100000"/>
              </a:lnSpc>
              <a:spcBef>
                <a:spcPts val="294"/>
              </a:spcBef>
              <a:buClr>
                <a:srgbClr val="6C6463"/>
              </a:buClr>
              <a:buFont typeface="Courier New" panose="02070309020205020404" pitchFamily="49" charset="0"/>
              <a:buChar char="o"/>
              <a:defRPr>
                <a:solidFill>
                  <a:srgbClr val="6C6463"/>
                </a:solidFill>
              </a:defRPr>
            </a:lvl2pPr>
            <a:lvl3pPr marL="1120140" indent="-224028">
              <a:lnSpc>
                <a:spcPct val="100000"/>
              </a:lnSpc>
              <a:spcBef>
                <a:spcPts val="294"/>
              </a:spcBef>
              <a:buClr>
                <a:srgbClr val="6C6463"/>
              </a:buClr>
              <a:buFont typeface="Gill Sans MT" panose="020B0502020104020203" pitchFamily="34" charset="0"/>
              <a:buChar char="–"/>
              <a:defRPr>
                <a:solidFill>
                  <a:srgbClr val="6C6463"/>
                </a:solidFill>
              </a:defRPr>
            </a:lvl3pPr>
            <a:lvl4pPr>
              <a:lnSpc>
                <a:spcPct val="100000"/>
              </a:lnSpc>
              <a:spcBef>
                <a:spcPts val="294"/>
              </a:spcBef>
              <a:defRPr>
                <a:solidFill>
                  <a:srgbClr val="6C6463"/>
                </a:solidFill>
              </a:defRPr>
            </a:lvl4pPr>
            <a:lvl5pPr>
              <a:lnSpc>
                <a:spcPct val="100000"/>
              </a:lnSpc>
              <a:spcBef>
                <a:spcPts val="294"/>
              </a:spcBef>
              <a:defRPr>
                <a:solidFill>
                  <a:srgbClr val="6C6463"/>
                </a:solidFill>
              </a:defRPr>
            </a:lvl5pPr>
          </a:lstStyle>
          <a:p>
            <a:pPr lvl="0"/>
            <a:r>
              <a:rPr lang="en-US" dirty="0"/>
              <a:t>Bullet Points</a:t>
            </a:r>
          </a:p>
        </p:txBody>
      </p:sp>
      <p:sp>
        <p:nvSpPr>
          <p:cNvPr id="6" name="Slide Number Placeholder 5"/>
          <p:cNvSpPr>
            <a:spLocks noGrp="1"/>
          </p:cNvSpPr>
          <p:nvPr>
            <p:ph type="sldNum" sz="quarter" idx="12"/>
          </p:nvPr>
        </p:nvSpPr>
        <p:spPr/>
        <p:txBody>
          <a:bodyPr/>
          <a:lstStyle>
            <a:lvl1pPr>
              <a:defRPr b="1">
                <a:solidFill>
                  <a:srgbClr val="BA0C2F"/>
                </a:solidFill>
              </a:defRPr>
            </a:lvl1pPr>
          </a:lstStyle>
          <a:p>
            <a:fld id="{AFB4637D-E648-4D47-95AC-4BFF987C325D}" type="slidenum">
              <a:rPr lang="en-US" smtClean="0"/>
              <a:pPr/>
              <a:t>‹#›</a:t>
            </a:fld>
            <a:endParaRPr lang="en-US" dirty="0"/>
          </a:p>
        </p:txBody>
      </p:sp>
    </p:spTree>
    <p:custDataLst>
      <p:tags r:id="rId1"/>
    </p:custDataLst>
    <p:extLst>
      <p:ext uri="{BB962C8B-B14F-4D97-AF65-F5344CB8AC3E}">
        <p14:creationId xmlns:p14="http://schemas.microsoft.com/office/powerpoint/2010/main" val="13787632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Tab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PPT Slide with a Table</a:t>
            </a:r>
          </a:p>
        </p:txBody>
      </p:sp>
      <p:sp>
        <p:nvSpPr>
          <p:cNvPr id="6" name="Slide Number Placeholder 5"/>
          <p:cNvSpPr>
            <a:spLocks noGrp="1"/>
          </p:cNvSpPr>
          <p:nvPr>
            <p:ph type="sldNum" sz="quarter" idx="12"/>
          </p:nvPr>
        </p:nvSpPr>
        <p:spPr/>
        <p:txBody>
          <a:bodyPr/>
          <a:lstStyle>
            <a:lvl1pPr>
              <a:defRPr b="1">
                <a:solidFill>
                  <a:srgbClr val="BA0C2F"/>
                </a:solidFill>
              </a:defRPr>
            </a:lvl1pPr>
          </a:lstStyle>
          <a:p>
            <a:fld id="{AFB4637D-E648-4D47-95AC-4BFF987C325D}" type="slidenum">
              <a:rPr lang="en-US" smtClean="0"/>
              <a:pPr/>
              <a:t>‹#›</a:t>
            </a:fld>
            <a:endParaRPr lang="en-US" dirty="0"/>
          </a:p>
        </p:txBody>
      </p:sp>
      <p:sp>
        <p:nvSpPr>
          <p:cNvPr id="4" name="Table Placeholder 3">
            <a:extLst>
              <a:ext uri="{FF2B5EF4-FFF2-40B4-BE49-F238E27FC236}">
                <a16:creationId xmlns:a16="http://schemas.microsoft.com/office/drawing/2014/main" id="{73F02759-E9B4-452B-8015-98F766EAC2CE}"/>
              </a:ext>
            </a:extLst>
          </p:cNvPr>
          <p:cNvSpPr>
            <a:spLocks noGrp="1"/>
          </p:cNvSpPr>
          <p:nvPr>
            <p:ph type="tbl" sz="quarter" idx="14"/>
          </p:nvPr>
        </p:nvSpPr>
        <p:spPr>
          <a:xfrm>
            <a:off x="616099" y="1781503"/>
            <a:ext cx="7729240" cy="4275605"/>
          </a:xfrm>
        </p:spPr>
        <p:txBody>
          <a:bodyPr/>
          <a:lstStyle>
            <a:lvl1pPr marL="0" indent="0">
              <a:buNone/>
              <a:defRPr/>
            </a:lvl1pPr>
          </a:lstStyle>
          <a:p>
            <a:r>
              <a:rPr lang="en-US"/>
              <a:t>Click icon to add table</a:t>
            </a:r>
            <a:endParaRPr lang="en-US" dirty="0"/>
          </a:p>
        </p:txBody>
      </p:sp>
    </p:spTree>
    <p:custDataLst>
      <p:tags r:id="rId1"/>
    </p:custDataLst>
    <p:extLst>
      <p:ext uri="{BB962C8B-B14F-4D97-AF65-F5344CB8AC3E}">
        <p14:creationId xmlns:p14="http://schemas.microsoft.com/office/powerpoint/2010/main" val="2196744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3" Type="http://schemas.openxmlformats.org/officeDocument/2006/relationships/slideLayout" Target="../slideLayouts/slideLayout3.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1.xml"/><Relationship Id="rId20" Type="http://schemas.openxmlformats.org/officeDocument/2006/relationships/tags" Target="../tags/tag15.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6.xml"/><Relationship Id="rId24" Type="http://schemas.openxmlformats.org/officeDocument/2006/relationships/oleObject" Target="../embeddings/oleObject1.bin"/><Relationship Id="rId5" Type="http://schemas.openxmlformats.org/officeDocument/2006/relationships/theme" Target="../theme/theme1.xml"/><Relationship Id="rId15" Type="http://schemas.openxmlformats.org/officeDocument/2006/relationships/tags" Target="../tags/tag10.xml"/><Relationship Id="rId23" Type="http://schemas.openxmlformats.org/officeDocument/2006/relationships/tags" Target="../tags/tag18.xml"/><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slideLayout" Target="../slideLayouts/slideLayout22.xml"/><Relationship Id="rId26" Type="http://schemas.openxmlformats.org/officeDocument/2006/relationships/oleObject" Target="../embeddings/oleObject6.bin"/><Relationship Id="rId3" Type="http://schemas.openxmlformats.org/officeDocument/2006/relationships/slideLayout" Target="../slideLayouts/slideLayout7.xml"/><Relationship Id="rId21" Type="http://schemas.openxmlformats.org/officeDocument/2006/relationships/theme" Target="../theme/theme2.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tags" Target="../tags/tag25.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slideLayout" Target="../slideLayouts/slideLayout24.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24" Type="http://schemas.openxmlformats.org/officeDocument/2006/relationships/tags" Target="../tags/tag24.xml"/><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tags" Target="../tags/tag23.xml"/><Relationship Id="rId10" Type="http://schemas.openxmlformats.org/officeDocument/2006/relationships/slideLayout" Target="../slideLayouts/slideLayout14.xml"/><Relationship Id="rId19" Type="http://schemas.openxmlformats.org/officeDocument/2006/relationships/slideLayout" Target="../slideLayouts/slideLayout23.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vmlDrawing" Target="../drawings/vmlDrawing6.vml"/><Relationship Id="rId27" Type="http://schemas.openxmlformats.org/officeDocument/2006/relationships/image" Target="../media/image6.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oleObject" Target="../embeddings/oleObject7.bin"/><Relationship Id="rId3" Type="http://schemas.openxmlformats.org/officeDocument/2006/relationships/slideLayout" Target="../slideLayouts/slideLayout27.xml"/><Relationship Id="rId21" Type="http://schemas.openxmlformats.org/officeDocument/2006/relationships/theme" Target="../theme/theme3.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ags" Target="../tags/tag48.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tags" Target="../tags/tag47.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tags" Target="../tags/tag46.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vmlDrawing" Target="../drawings/vmlDrawing7.vml"/><Relationship Id="rId27" Type="http://schemas.openxmlformats.org/officeDocument/2006/relationships/image" Target="../media/image6.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1"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63" name="Slide Number"/>
          <p:cNvSpPr txBox="1">
            <a:spLocks/>
          </p:cNvSpPr>
          <p:nvPr/>
        </p:nvSpPr>
        <p:spPr bwMode="auto">
          <a:xfrm>
            <a:off x="8700687" y="6424408"/>
            <a:ext cx="123432" cy="120674"/>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x-none" sz="784" b="0" kern="0" cap="none" baseline="0" smtClean="0">
                <a:solidFill>
                  <a:schemeClr val="accent6"/>
                </a:solidFill>
                <a:latin typeface="Gill Sans MT" panose="020B0502020104020203" pitchFamily="34" charset="0"/>
                <a:ea typeface="+mn-ea"/>
                <a:cs typeface="+mn-cs"/>
                <a:sym typeface="Gill Sans MT" panose="020B0502020104020203" pitchFamily="34" charset="0"/>
              </a:rPr>
              <a:pPr algn="r"/>
              <a:t>‹#›</a:t>
            </a:fld>
            <a:endParaRPr lang="x-none" sz="784" b="0" kern="0" cap="none" baseline="0" dirty="0">
              <a:solidFill>
                <a:schemeClr val="accent6"/>
              </a:solidFill>
              <a:latin typeface="Gill Sans MT" panose="020B0502020104020203" pitchFamily="34" charset="0"/>
              <a:ea typeface="+mn-ea"/>
              <a:cs typeface="+mn-cs"/>
              <a:sym typeface="Gill Sans MT" panose="020B0502020104020203" pitchFamily="34" charset="0"/>
            </a:endParaRPr>
          </a:p>
        </p:txBody>
      </p:sp>
      <p:sp>
        <p:nvSpPr>
          <p:cNvPr id="1034" name="Working Draft" hidden="1"/>
          <p:cNvSpPr txBox="1">
            <a:spLocks noChangeArrowheads="1"/>
          </p:cNvSpPr>
          <p:nvPr/>
        </p:nvSpPr>
        <p:spPr bwMode="auto">
          <a:xfrm rot="5400000">
            <a:off x="8035588" y="1940592"/>
            <a:ext cx="1712007"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GB" sz="600" baseline="0">
                <a:solidFill>
                  <a:srgbClr val="808080"/>
                </a:solidFill>
                <a:latin typeface="Gill Sans MT" panose="020B0502020104020203" pitchFamily="34" charset="0"/>
                <a:ea typeface="+mn-ea"/>
                <a:sym typeface="Gill Sans MT" panose="020B0502020104020203" pitchFamily="34" charset="0"/>
              </a:rPr>
              <a:t>Last Modified 2020-02-28 11:34 Eastern Standard Time</a:t>
            </a:r>
            <a:endParaRPr lang="x-none" sz="1599" baseline="0" dirty="0">
              <a:solidFill>
                <a:srgbClr val="808080"/>
              </a:solidFill>
              <a:latin typeface="Gill Sans MT" panose="020B0502020104020203" pitchFamily="34" charset="0"/>
              <a:ea typeface="+mn-ea"/>
              <a:sym typeface="Gill Sans MT" panose="020B0502020104020203" pitchFamily="34" charset="0"/>
            </a:endParaRPr>
          </a:p>
        </p:txBody>
      </p:sp>
      <p:sp>
        <p:nvSpPr>
          <p:cNvPr id="1035" name="Printed" hidden="1"/>
          <p:cNvSpPr txBox="1">
            <a:spLocks noChangeArrowheads="1"/>
          </p:cNvSpPr>
          <p:nvPr/>
        </p:nvSpPr>
        <p:spPr bwMode="auto">
          <a:xfrm rot="5400000">
            <a:off x="8102110" y="4114418"/>
            <a:ext cx="1578958"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00" baseline="0">
                <a:solidFill>
                  <a:srgbClr val="808080"/>
                </a:solidFill>
                <a:latin typeface="Gill Sans MT" panose="020B0502020104020203" pitchFamily="34" charset="0"/>
                <a:ea typeface="+mn-ea"/>
                <a:sym typeface="Gill Sans MT" panose="020B0502020104020203" pitchFamily="34" charset="0"/>
              </a:rPr>
              <a:t>Printed 23/02/2018 08:58 Morocco Standard Time</a:t>
            </a:r>
            <a:endParaRPr lang="x-none" sz="1599" baseline="0" dirty="0">
              <a:solidFill>
                <a:srgbClr val="808080"/>
              </a:solidFill>
              <a:latin typeface="Gill Sans MT" panose="020B0502020104020203" pitchFamily="34" charset="0"/>
              <a:ea typeface="+mn-ea"/>
              <a:sym typeface="Gill Sans MT" panose="020B0502020104020203" pitchFamily="34" charset="0"/>
            </a:endParaRPr>
          </a:p>
        </p:txBody>
      </p:sp>
      <p:sp>
        <p:nvSpPr>
          <p:cNvPr id="19" name="Title Placeholder 2"/>
          <p:cNvSpPr>
            <a:spLocks noGrp="1" noChangeArrowheads="1"/>
          </p:cNvSpPr>
          <p:nvPr>
            <p:ph type="title"/>
          </p:nvPr>
        </p:nvSpPr>
        <p:spPr bwMode="auto">
          <a:xfrm>
            <a:off x="149358" y="230188"/>
            <a:ext cx="8662723"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x-none" noProof="0" dirty="0"/>
          </a:p>
        </p:txBody>
      </p:sp>
      <p:sp>
        <p:nvSpPr>
          <p:cNvPr id="10" name="1. On-page tracker" hidden="1"/>
          <p:cNvSpPr>
            <a:spLocks noChangeArrowheads="1"/>
          </p:cNvSpPr>
          <p:nvPr/>
        </p:nvSpPr>
        <p:spPr bwMode="auto">
          <a:xfrm>
            <a:off x="149357" y="0"/>
            <a:ext cx="755976" cy="211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1372" cap="all" baseline="0" dirty="0">
                <a:solidFill>
                  <a:schemeClr val="accent6"/>
                </a:solidFill>
                <a:latin typeface="Gill Sans MT" panose="020B0502020104020203" pitchFamily="34" charset="0"/>
                <a:ea typeface="+mn-ea"/>
                <a:sym typeface="Gill Sans MT" panose="020B0502020104020203" pitchFamily="34" charset="0"/>
              </a:rPr>
              <a:t>TRACKER</a:t>
            </a:r>
          </a:p>
        </p:txBody>
      </p:sp>
      <p:sp>
        <p:nvSpPr>
          <p:cNvPr id="11" name="3. Unit of measure" hidden="1"/>
          <p:cNvSpPr txBox="1">
            <a:spLocks noChangeArrowheads="1"/>
          </p:cNvSpPr>
          <p:nvPr/>
        </p:nvSpPr>
        <p:spPr bwMode="auto">
          <a:xfrm>
            <a:off x="149358" y="554866"/>
            <a:ext cx="8662723" cy="241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568" baseline="0">
                <a:solidFill>
                  <a:schemeClr val="accent6"/>
                </a:solidFill>
                <a:latin typeface="Gill Sans MT" panose="020B0502020104020203" pitchFamily="34" charset="0"/>
                <a:ea typeface="+mn-ea"/>
                <a:sym typeface="Gill Sans MT" panose="020B0502020104020203" pitchFamily="34" charset="0"/>
              </a:rPr>
              <a:t>Subtitle</a:t>
            </a:r>
            <a:endParaRPr lang="x-none" sz="1568" baseline="0" dirty="0">
              <a:solidFill>
                <a:schemeClr val="accent6"/>
              </a:solidFill>
              <a:latin typeface="Gill Sans MT" panose="020B0502020104020203" pitchFamily="34" charset="0"/>
              <a:ea typeface="+mn-ea"/>
              <a:sym typeface="Gill Sans MT" panose="020B0502020104020203" pitchFamily="34" charset="0"/>
            </a:endParaRPr>
          </a:p>
        </p:txBody>
      </p:sp>
      <p:sp>
        <p:nvSpPr>
          <p:cNvPr id="13" name="4. Footnote" hidden="1"/>
          <p:cNvSpPr txBox="1">
            <a:spLocks noChangeArrowheads="1"/>
          </p:cNvSpPr>
          <p:nvPr/>
        </p:nvSpPr>
        <p:spPr bwMode="auto">
          <a:xfrm>
            <a:off x="149358" y="5718913"/>
            <a:ext cx="8662723" cy="1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93345" indent="-93345">
              <a:defRPr lang="x-none"/>
            </a:pPr>
            <a:r>
              <a:rPr lang="x-none" sz="980" baseline="0" dirty="0">
                <a:solidFill>
                  <a:schemeClr val="tx1"/>
                </a:solidFill>
                <a:latin typeface="Gill Sans MT" panose="020B0502020104020203" pitchFamily="34" charset="0"/>
                <a:ea typeface="+mn-ea"/>
                <a:sym typeface="Gill Sans MT" panose="020B0502020104020203" pitchFamily="34" charset="0"/>
              </a:rPr>
              <a:t>1 Footnote</a:t>
            </a:r>
          </a:p>
        </p:txBody>
      </p:sp>
      <p:sp>
        <p:nvSpPr>
          <p:cNvPr id="14" name="5. Source" hidden="1"/>
          <p:cNvSpPr>
            <a:spLocks noChangeArrowheads="1"/>
          </p:cNvSpPr>
          <p:nvPr/>
        </p:nvSpPr>
        <p:spPr bwMode="auto">
          <a:xfrm>
            <a:off x="149358" y="5920526"/>
            <a:ext cx="8662723" cy="1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69405" indent="-569405" defTabSz="895255">
              <a:tabLst/>
            </a:pPr>
            <a:r>
              <a:rPr lang="x-none" sz="980" baseline="0" dirty="0">
                <a:solidFill>
                  <a:schemeClr val="tx1"/>
                </a:solidFill>
                <a:latin typeface="Gill Sans MT" panose="020B0502020104020203" pitchFamily="34" charset="0"/>
                <a:ea typeface="+mn-ea"/>
                <a:sym typeface="Gill Sans MT" panose="020B0502020104020203" pitchFamily="34" charset="0"/>
              </a:rPr>
              <a:t>SOURCE : Source</a:t>
            </a:r>
            <a:endParaRPr lang="en-US" sz="980" baseline="0" dirty="0">
              <a:solidFill>
                <a:schemeClr val="tx1"/>
              </a:solidFill>
              <a:latin typeface="Gill Sans MT" panose="020B0502020104020203" pitchFamily="34" charset="0"/>
              <a:ea typeface="+mn-ea"/>
              <a:sym typeface="Gill Sans MT" panose="020B0502020104020203" pitchFamily="34" charset="0"/>
            </a:endParaRPr>
          </a:p>
        </p:txBody>
      </p:sp>
      <p:sp>
        <p:nvSpPr>
          <p:cNvPr id="3" name="Text Placeholder 2"/>
          <p:cNvSpPr>
            <a:spLocks noGrp="1"/>
          </p:cNvSpPr>
          <p:nvPr>
            <p:ph type="body" idx="1"/>
          </p:nvPr>
        </p:nvSpPr>
        <p:spPr bwMode="auto">
          <a:xfrm>
            <a:off x="1452565" y="1951380"/>
            <a:ext cx="4302125" cy="923330"/>
          </a:xfrm>
          <a:prstGeom prst="rect">
            <a:avLst/>
          </a:prstGeom>
        </p:spPr>
        <p:txBody>
          <a:bodyPr vert="horz" lIns="0" tIns="0" rIns="0" bIns="0" rtlCol="0">
            <a:spAutoFit/>
          </a:bodyPr>
          <a:lstStyle/>
          <a:p>
            <a:pPr lvl="0" latinLnBrk="0"/>
            <a:r>
              <a:rPr lang="en-US" dirty="0"/>
              <a:t>Click to 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dirty="0"/>
              <a:t>Fifth level</a:t>
            </a:r>
            <a:endParaRPr lang="x-none" dirty="0"/>
          </a:p>
        </p:txBody>
      </p:sp>
      <p:grpSp>
        <p:nvGrpSpPr>
          <p:cNvPr id="15" name="ACET" hidden="1"/>
          <p:cNvGrpSpPr>
            <a:grpSpLocks/>
          </p:cNvGrpSpPr>
          <p:nvPr/>
        </p:nvGrpSpPr>
        <p:grpSpPr bwMode="auto">
          <a:xfrm>
            <a:off x="1452564" y="1377717"/>
            <a:ext cx="4264025" cy="500063"/>
            <a:chOff x="915" y="715"/>
            <a:chExt cx="2686" cy="315"/>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568" b="1" baseline="0" dirty="0">
                  <a:solidFill>
                    <a:srgbClr val="000000"/>
                  </a:solidFill>
                  <a:latin typeface="Gill Sans MT" panose="020B0502020104020203" pitchFamily="34" charset="0"/>
                  <a:ea typeface="+mn-ea"/>
                  <a:sym typeface="Gill Sans MT" panose="020B0502020104020203" pitchFamily="34" charset="0"/>
                </a:rPr>
                <a:t>Title</a:t>
              </a:r>
            </a:p>
            <a:p>
              <a:r>
                <a:rPr lang="x-none" sz="1568" baseline="0" dirty="0">
                  <a:solidFill>
                    <a:srgbClr val="808080"/>
                  </a:solidFill>
                  <a:latin typeface="Gill Sans MT" panose="020B0502020104020203" pitchFamily="34" charset="0"/>
                  <a:ea typeface="+mn-ea"/>
                  <a:sym typeface="Gill Sans MT" panose="020B0502020104020203" pitchFamily="34" charset="0"/>
                </a:rPr>
                <a:t>Unit of measure</a:t>
              </a:r>
            </a:p>
          </p:txBody>
        </p:sp>
      </p:grpSp>
      <p:grpSp>
        <p:nvGrpSpPr>
          <p:cNvPr id="64" name="LegendBoxes" hidden="1"/>
          <p:cNvGrpSpPr>
            <a:grpSpLocks/>
          </p:cNvGrpSpPr>
          <p:nvPr/>
        </p:nvGrpSpPr>
        <p:grpSpPr bwMode="auto">
          <a:xfrm>
            <a:off x="8127525" y="280920"/>
            <a:ext cx="690777" cy="977104"/>
            <a:chOff x="4936" y="176"/>
            <a:chExt cx="444" cy="628"/>
          </a:xfrm>
        </p:grpSpPr>
        <p:sp>
          <p:nvSpPr>
            <p:cNvPr id="65" name="Legend1"/>
            <p:cNvSpPr>
              <a:spLocks noChangeArrowheads="1"/>
            </p:cNvSpPr>
            <p:nvPr/>
          </p:nvSpPr>
          <p:spPr bwMode="auto">
            <a:xfrm>
              <a:off x="5096" y="176"/>
              <a:ext cx="284"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77443">
                <a:buClr>
                  <a:schemeClr val="tx2"/>
                </a:buClr>
              </a:pPr>
              <a:r>
                <a:rPr lang="en-US" sz="1176" dirty="0">
                  <a:latin typeface="Gill Sans MT" panose="020B0502020104020203" pitchFamily="34" charset="0"/>
                  <a:sym typeface="Gill Sans MT" panose="020B0502020104020203" pitchFamily="34" charset="0"/>
                </a:rPr>
                <a:t>Legend</a:t>
              </a:r>
            </a:p>
          </p:txBody>
        </p:sp>
        <p:sp>
          <p:nvSpPr>
            <p:cNvPr id="66"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81" dirty="0">
                <a:latin typeface="Gill Sans MT" panose="020B0502020104020203" pitchFamily="34" charset="0"/>
                <a:sym typeface="Gill Sans MT" panose="020B0502020104020203" pitchFamily="34" charset="0"/>
              </a:endParaRPr>
            </a:p>
          </p:txBody>
        </p:sp>
        <p:sp>
          <p:nvSpPr>
            <p:cNvPr id="67" name="Legend2"/>
            <p:cNvSpPr>
              <a:spLocks noChangeArrowheads="1"/>
            </p:cNvSpPr>
            <p:nvPr/>
          </p:nvSpPr>
          <p:spPr bwMode="auto">
            <a:xfrm>
              <a:off x="5096" y="346"/>
              <a:ext cx="284"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77443">
                <a:buClr>
                  <a:schemeClr val="tx2"/>
                </a:buClr>
              </a:pPr>
              <a:r>
                <a:rPr lang="en-US" sz="1176" dirty="0">
                  <a:latin typeface="Gill Sans MT" panose="020B0502020104020203" pitchFamily="34" charset="0"/>
                  <a:sym typeface="Gill Sans MT" panose="020B0502020104020203" pitchFamily="34" charset="0"/>
                </a:rPr>
                <a:t>Legend</a:t>
              </a:r>
            </a:p>
          </p:txBody>
        </p:sp>
        <p:sp>
          <p:nvSpPr>
            <p:cNvPr id="68"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81" dirty="0">
                <a:latin typeface="Gill Sans MT" panose="020B0502020104020203" pitchFamily="34" charset="0"/>
                <a:sym typeface="Gill Sans MT" panose="020B0502020104020203" pitchFamily="34" charset="0"/>
              </a:endParaRPr>
            </a:p>
          </p:txBody>
        </p:sp>
        <p:sp>
          <p:nvSpPr>
            <p:cNvPr id="69" name="Legend3"/>
            <p:cNvSpPr>
              <a:spLocks noChangeArrowheads="1"/>
            </p:cNvSpPr>
            <p:nvPr/>
          </p:nvSpPr>
          <p:spPr bwMode="auto">
            <a:xfrm>
              <a:off x="5096" y="517"/>
              <a:ext cx="284"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77443">
                <a:buClr>
                  <a:schemeClr val="tx2"/>
                </a:buClr>
              </a:pPr>
              <a:r>
                <a:rPr lang="en-US" sz="1176" dirty="0">
                  <a:latin typeface="Gill Sans MT" panose="020B0502020104020203" pitchFamily="34" charset="0"/>
                  <a:sym typeface="Gill Sans MT" panose="020B0502020104020203" pitchFamily="34" charset="0"/>
                </a:rPr>
                <a:t>Legend</a:t>
              </a:r>
            </a:p>
          </p:txBody>
        </p:sp>
        <p:sp>
          <p:nvSpPr>
            <p:cNvPr id="70"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81" dirty="0">
                <a:latin typeface="Gill Sans MT" panose="020B0502020104020203" pitchFamily="34" charset="0"/>
                <a:sym typeface="Gill Sans MT" panose="020B0502020104020203" pitchFamily="34" charset="0"/>
              </a:endParaRPr>
            </a:p>
          </p:txBody>
        </p:sp>
        <p:sp>
          <p:nvSpPr>
            <p:cNvPr id="71" name="Legend4"/>
            <p:cNvSpPr>
              <a:spLocks noChangeArrowheads="1"/>
            </p:cNvSpPr>
            <p:nvPr/>
          </p:nvSpPr>
          <p:spPr bwMode="auto">
            <a:xfrm>
              <a:off x="5096" y="688"/>
              <a:ext cx="284"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77443">
                <a:buClr>
                  <a:schemeClr val="tx2"/>
                </a:buClr>
              </a:pPr>
              <a:r>
                <a:rPr lang="en-US" sz="1176" dirty="0">
                  <a:latin typeface="Gill Sans MT" panose="020B0502020104020203" pitchFamily="34" charset="0"/>
                  <a:sym typeface="Gill Sans MT" panose="020B0502020104020203" pitchFamily="34" charset="0"/>
                </a:rPr>
                <a:t>Legend</a:t>
              </a:r>
            </a:p>
          </p:txBody>
        </p:sp>
        <p:sp>
          <p:nvSpPr>
            <p:cNvPr id="72"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81" dirty="0">
                <a:latin typeface="Gill Sans MT" panose="020B0502020104020203" pitchFamily="34" charset="0"/>
                <a:sym typeface="Gill Sans MT" panose="020B0502020104020203" pitchFamily="34" charset="0"/>
              </a:endParaRPr>
            </a:p>
          </p:txBody>
        </p:sp>
      </p:grpSp>
      <p:grpSp>
        <p:nvGrpSpPr>
          <p:cNvPr id="73" name="LegendLines" hidden="1"/>
          <p:cNvGrpSpPr>
            <a:grpSpLocks/>
          </p:cNvGrpSpPr>
          <p:nvPr/>
        </p:nvGrpSpPr>
        <p:grpSpPr bwMode="auto">
          <a:xfrm>
            <a:off x="7825698" y="280919"/>
            <a:ext cx="992604" cy="715714"/>
            <a:chOff x="4750" y="176"/>
            <a:chExt cx="638" cy="460"/>
          </a:xfrm>
        </p:grpSpPr>
        <p:sp>
          <p:nvSpPr>
            <p:cNvPr id="74"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581" dirty="0">
                <a:latin typeface="Gill Sans MT" panose="020B0502020104020203" pitchFamily="34" charset="0"/>
                <a:sym typeface="Gill Sans MT" panose="020B0502020104020203" pitchFamily="34" charset="0"/>
              </a:endParaRPr>
            </a:p>
          </p:txBody>
        </p:sp>
        <p:sp>
          <p:nvSpPr>
            <p:cNvPr id="75"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581" dirty="0">
                <a:latin typeface="Gill Sans MT" panose="020B0502020104020203" pitchFamily="34" charset="0"/>
                <a:sym typeface="Gill Sans MT" panose="020B0502020104020203" pitchFamily="34" charset="0"/>
              </a:endParaRPr>
            </a:p>
          </p:txBody>
        </p:sp>
        <p:sp>
          <p:nvSpPr>
            <p:cNvPr id="76"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581" dirty="0">
                <a:latin typeface="Gill Sans MT" panose="020B0502020104020203" pitchFamily="34" charset="0"/>
                <a:sym typeface="Gill Sans MT" panose="020B0502020104020203" pitchFamily="34" charset="0"/>
              </a:endParaRPr>
            </a:p>
          </p:txBody>
        </p:sp>
        <p:sp>
          <p:nvSpPr>
            <p:cNvPr id="77" name="Legend1"/>
            <p:cNvSpPr>
              <a:spLocks noChangeArrowheads="1"/>
            </p:cNvSpPr>
            <p:nvPr/>
          </p:nvSpPr>
          <p:spPr bwMode="auto">
            <a:xfrm>
              <a:off x="5104" y="176"/>
              <a:ext cx="284"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77443">
                <a:buClr>
                  <a:schemeClr val="tx2"/>
                </a:buClr>
              </a:pPr>
              <a:r>
                <a:rPr lang="en-US" sz="1176" dirty="0">
                  <a:latin typeface="Gill Sans MT" panose="020B0502020104020203" pitchFamily="34" charset="0"/>
                  <a:sym typeface="Gill Sans MT" panose="020B0502020104020203" pitchFamily="34" charset="0"/>
                </a:rPr>
                <a:t>Legend</a:t>
              </a:r>
            </a:p>
          </p:txBody>
        </p:sp>
        <p:sp>
          <p:nvSpPr>
            <p:cNvPr id="78" name="Legend2"/>
            <p:cNvSpPr>
              <a:spLocks noChangeArrowheads="1"/>
            </p:cNvSpPr>
            <p:nvPr/>
          </p:nvSpPr>
          <p:spPr bwMode="auto">
            <a:xfrm>
              <a:off x="5104" y="344"/>
              <a:ext cx="284"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77443">
                <a:buClr>
                  <a:schemeClr val="tx2"/>
                </a:buClr>
              </a:pPr>
              <a:r>
                <a:rPr lang="en-US" sz="1176" dirty="0">
                  <a:latin typeface="Gill Sans MT" panose="020B0502020104020203" pitchFamily="34" charset="0"/>
                  <a:sym typeface="Gill Sans MT" panose="020B0502020104020203" pitchFamily="34" charset="0"/>
                </a:rPr>
                <a:t>Legend</a:t>
              </a:r>
            </a:p>
          </p:txBody>
        </p:sp>
        <p:sp>
          <p:nvSpPr>
            <p:cNvPr id="79" name="Legend3"/>
            <p:cNvSpPr>
              <a:spLocks noChangeArrowheads="1"/>
            </p:cNvSpPr>
            <p:nvPr/>
          </p:nvSpPr>
          <p:spPr bwMode="auto">
            <a:xfrm>
              <a:off x="5104" y="520"/>
              <a:ext cx="284"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77443">
                <a:buClr>
                  <a:schemeClr val="tx2"/>
                </a:buClr>
              </a:pPr>
              <a:r>
                <a:rPr lang="en-US" sz="1176" dirty="0">
                  <a:latin typeface="Gill Sans MT" panose="020B0502020104020203" pitchFamily="34" charset="0"/>
                  <a:sym typeface="Gill Sans MT" panose="020B0502020104020203" pitchFamily="34" charset="0"/>
                </a:rPr>
                <a:t>Legend</a:t>
              </a:r>
            </a:p>
          </p:txBody>
        </p:sp>
      </p:grpSp>
      <p:grpSp>
        <p:nvGrpSpPr>
          <p:cNvPr id="101" name="Sticker" hidden="1"/>
          <p:cNvGrpSpPr/>
          <p:nvPr/>
        </p:nvGrpSpPr>
        <p:grpSpPr bwMode="auto">
          <a:xfrm>
            <a:off x="7872276" y="280921"/>
            <a:ext cx="939809" cy="208647"/>
            <a:chOff x="7781821" y="285750"/>
            <a:chExt cx="958954" cy="212885"/>
          </a:xfrm>
        </p:grpSpPr>
        <p:sp>
          <p:nvSpPr>
            <p:cNvPr id="102" name="StickerRectangle"/>
            <p:cNvSpPr>
              <a:spLocks noChangeArrowheads="1"/>
            </p:cNvSpPr>
            <p:nvPr/>
          </p:nvSpPr>
          <p:spPr bwMode="auto">
            <a:xfrm>
              <a:off x="7781821" y="285750"/>
              <a:ext cx="958954" cy="21288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77443">
                <a:buClr>
                  <a:schemeClr val="tx2"/>
                </a:buClr>
              </a:pPr>
              <a:r>
                <a:rPr lang="en-US" sz="1176" dirty="0">
                  <a:solidFill>
                    <a:srgbClr val="808080"/>
                  </a:solidFill>
                  <a:latin typeface="Gill Sans MT" panose="020B0502020104020203" pitchFamily="34" charset="0"/>
                  <a:sym typeface="Gill Sans MT" panose="020B0502020104020203" pitchFamily="34" charset="0"/>
                </a:rPr>
                <a:t>PRELIMINARY</a:t>
              </a:r>
            </a:p>
          </p:txBody>
        </p:sp>
        <p:cxnSp>
          <p:nvCxnSpPr>
            <p:cNvPr id="103" name="AutoShape 31"/>
            <p:cNvCxnSpPr>
              <a:cxnSpLocks noChangeShapeType="1"/>
              <a:stCxn id="102" idx="2"/>
              <a:endCxn id="102" idx="4"/>
            </p:cNvCxnSpPr>
            <p:nvPr/>
          </p:nvCxnSpPr>
          <p:spPr bwMode="auto">
            <a:xfrm>
              <a:off x="7781821" y="285750"/>
              <a:ext cx="0" cy="212885"/>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4" name="AutoShape 32"/>
            <p:cNvCxnSpPr>
              <a:cxnSpLocks noChangeShapeType="1"/>
              <a:stCxn id="102" idx="4"/>
              <a:endCxn id="102" idx="6"/>
            </p:cNvCxnSpPr>
            <p:nvPr/>
          </p:nvCxnSpPr>
          <p:spPr bwMode="auto">
            <a:xfrm>
              <a:off x="7781821" y="498635"/>
              <a:ext cx="95895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09" name="Moon" hidden="1"/>
          <p:cNvGrpSpPr/>
          <p:nvPr>
            <p:custDataLst>
              <p:tags r:id="rId8"/>
            </p:custDataLst>
          </p:nvPr>
        </p:nvGrpSpPr>
        <p:grpSpPr bwMode="auto">
          <a:xfrm>
            <a:off x="746786" y="1244717"/>
            <a:ext cx="248929" cy="248944"/>
            <a:chOff x="762000" y="1270000"/>
            <a:chExt cx="254000" cy="254000"/>
          </a:xfrm>
        </p:grpSpPr>
        <p:sp>
          <p:nvSpPr>
            <p:cNvPr id="110" name="Oval 109"/>
            <p:cNvSpPr/>
            <p:nvPr/>
          </p:nvSpPr>
          <p:spPr bwMode="auto">
            <a:xfrm>
              <a:off x="762000" y="1270000"/>
              <a:ext cx="254000" cy="254000"/>
            </a:xfrm>
            <a:prstGeom prst="ellipse">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68" dirty="0">
                <a:solidFill>
                  <a:schemeClr val="tx1"/>
                </a:solidFill>
                <a:latin typeface="Gill Sans MT" panose="020B0502020104020203" pitchFamily="34" charset="0"/>
                <a:sym typeface="Gill Sans MT" panose="020B0502020104020203" pitchFamily="34" charset="0"/>
              </a:endParaRPr>
            </a:p>
          </p:txBody>
        </p:sp>
        <p:sp>
          <p:nvSpPr>
            <p:cNvPr id="111" name="Arc 110"/>
            <p:cNvSpPr/>
            <p:nvPr/>
          </p:nvSpPr>
          <p:spPr bwMode="auto">
            <a:xfrm>
              <a:off x="762000" y="1270000"/>
              <a:ext cx="254000" cy="254000"/>
            </a:xfrm>
            <a:prstGeom prst="arc">
              <a:avLst/>
            </a:prstGeom>
            <a:solidFill>
              <a:schemeClr val="accent3"/>
            </a:solidFill>
            <a:ln>
              <a:solidFill>
                <a:schemeClr val="accent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568" dirty="0">
                <a:latin typeface="Gill Sans MT" panose="020B0502020104020203" pitchFamily="34" charset="0"/>
                <a:sym typeface="Gill Sans MT" panose="020B0502020104020203" pitchFamily="34" charset="0"/>
              </a:endParaRPr>
            </a:p>
          </p:txBody>
        </p:sp>
      </p:grpSp>
      <p:grpSp>
        <p:nvGrpSpPr>
          <p:cNvPr id="80" name="LegendMoons" hidden="1"/>
          <p:cNvGrpSpPr/>
          <p:nvPr/>
        </p:nvGrpSpPr>
        <p:grpSpPr bwMode="auto">
          <a:xfrm>
            <a:off x="8062641" y="280919"/>
            <a:ext cx="756701" cy="1280507"/>
            <a:chOff x="7875175" y="286625"/>
            <a:chExt cx="772117" cy="1306516"/>
          </a:xfrm>
        </p:grpSpPr>
        <p:grpSp>
          <p:nvGrpSpPr>
            <p:cNvPr id="81" name="MoonLegend2"/>
            <p:cNvGrpSpPr>
              <a:grpSpLocks noChangeAspect="1"/>
            </p:cNvGrpSpPr>
            <p:nvPr>
              <p:custDataLst>
                <p:tags r:id="rId9"/>
              </p:custDataLst>
            </p:nvPr>
          </p:nvGrpSpPr>
          <p:grpSpPr bwMode="auto">
            <a:xfrm>
              <a:off x="7875175" y="560866"/>
              <a:ext cx="209550" cy="209551"/>
              <a:chOff x="1694" y="2044"/>
              <a:chExt cx="160" cy="160"/>
            </a:xfrm>
          </p:grpSpPr>
          <p:sp>
            <p:nvSpPr>
              <p:cNvPr id="99"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81" dirty="0">
                  <a:latin typeface="Gill Sans MT" panose="020B0502020104020203" pitchFamily="34" charset="0"/>
                  <a:sym typeface="Gill Sans MT" panose="020B0502020104020203" pitchFamily="34" charset="0"/>
                </a:endParaRPr>
              </a:p>
            </p:txBody>
          </p:sp>
          <p:sp>
            <p:nvSpPr>
              <p:cNvPr id="100" name="Arc 42"/>
              <p:cNvSpPr>
                <a:spLocks noChangeAspect="1"/>
              </p:cNvSpPr>
              <p:nvPr>
                <p:custDataLst>
                  <p:tags r:id="rId23"/>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81" dirty="0">
                  <a:latin typeface="Gill Sans MT" panose="020B0502020104020203" pitchFamily="34" charset="0"/>
                  <a:sym typeface="Gill Sans MT" panose="020B0502020104020203" pitchFamily="34" charset="0"/>
                </a:endParaRPr>
              </a:p>
            </p:txBody>
          </p:sp>
        </p:grpSp>
        <p:grpSp>
          <p:nvGrpSpPr>
            <p:cNvPr id="82" name="MoonLegend4"/>
            <p:cNvGrpSpPr>
              <a:grpSpLocks noChangeAspect="1"/>
            </p:cNvGrpSpPr>
            <p:nvPr>
              <p:custDataLst>
                <p:tags r:id="rId10"/>
              </p:custDataLst>
            </p:nvPr>
          </p:nvGrpSpPr>
          <p:grpSpPr bwMode="auto">
            <a:xfrm>
              <a:off x="7875175" y="1109348"/>
              <a:ext cx="209550" cy="209551"/>
              <a:chOff x="4495" y="1198"/>
              <a:chExt cx="160" cy="160"/>
            </a:xfrm>
          </p:grpSpPr>
          <p:sp>
            <p:nvSpPr>
              <p:cNvPr id="97"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81" dirty="0">
                  <a:latin typeface="Gill Sans MT" panose="020B0502020104020203" pitchFamily="34" charset="0"/>
                  <a:sym typeface="Gill Sans MT" panose="020B0502020104020203" pitchFamily="34" charset="0"/>
                </a:endParaRPr>
              </a:p>
            </p:txBody>
          </p:sp>
          <p:sp>
            <p:nvSpPr>
              <p:cNvPr id="98"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81" dirty="0">
                  <a:latin typeface="Gill Sans MT" panose="020B0502020104020203" pitchFamily="34" charset="0"/>
                  <a:sym typeface="Gill Sans MT" panose="020B0502020104020203" pitchFamily="34" charset="0"/>
                </a:endParaRPr>
              </a:p>
            </p:txBody>
          </p:sp>
        </p:grpSp>
        <p:grpSp>
          <p:nvGrpSpPr>
            <p:cNvPr id="83" name="MoonLegend5"/>
            <p:cNvGrpSpPr>
              <a:grpSpLocks noChangeAspect="1"/>
            </p:cNvGrpSpPr>
            <p:nvPr>
              <p:custDataLst>
                <p:tags r:id="rId11"/>
              </p:custDataLst>
            </p:nvPr>
          </p:nvGrpSpPr>
          <p:grpSpPr bwMode="auto">
            <a:xfrm>
              <a:off x="7875175" y="1383590"/>
              <a:ext cx="209550" cy="209551"/>
              <a:chOff x="4495" y="1440"/>
              <a:chExt cx="160" cy="160"/>
            </a:xfrm>
          </p:grpSpPr>
          <p:sp>
            <p:nvSpPr>
              <p:cNvPr id="95"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81" dirty="0">
                  <a:latin typeface="Gill Sans MT" panose="020B0502020104020203" pitchFamily="34" charset="0"/>
                  <a:sym typeface="Gill Sans MT" panose="020B0502020104020203" pitchFamily="34" charset="0"/>
                </a:endParaRPr>
              </a:p>
            </p:txBody>
          </p:sp>
          <p:sp>
            <p:nvSpPr>
              <p:cNvPr id="96"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81" dirty="0">
                  <a:latin typeface="Gill Sans MT" panose="020B0502020104020203" pitchFamily="34" charset="0"/>
                  <a:sym typeface="Gill Sans MT" panose="020B0502020104020203" pitchFamily="34" charset="0"/>
                </a:endParaRPr>
              </a:p>
            </p:txBody>
          </p:sp>
        </p:grpSp>
        <p:sp>
          <p:nvSpPr>
            <p:cNvPr id="84" name="Legend1"/>
            <p:cNvSpPr>
              <a:spLocks noChangeArrowheads="1"/>
            </p:cNvSpPr>
            <p:nvPr/>
          </p:nvSpPr>
          <p:spPr bwMode="auto">
            <a:xfrm>
              <a:off x="8195850" y="299325"/>
              <a:ext cx="451442" cy="1846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77443">
                <a:buClr>
                  <a:schemeClr val="tx2"/>
                </a:buClr>
              </a:pPr>
              <a:r>
                <a:rPr lang="en-US" sz="1176" dirty="0">
                  <a:latin typeface="Gill Sans MT" panose="020B0502020104020203" pitchFamily="34" charset="0"/>
                  <a:sym typeface="Gill Sans MT" panose="020B0502020104020203" pitchFamily="34" charset="0"/>
                </a:rPr>
                <a:t>Legend</a:t>
              </a:r>
            </a:p>
          </p:txBody>
        </p:sp>
        <p:sp>
          <p:nvSpPr>
            <p:cNvPr id="85" name="Legend2"/>
            <p:cNvSpPr>
              <a:spLocks noChangeArrowheads="1"/>
            </p:cNvSpPr>
            <p:nvPr/>
          </p:nvSpPr>
          <p:spPr bwMode="auto">
            <a:xfrm>
              <a:off x="8195850" y="573963"/>
              <a:ext cx="451442" cy="1846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77443">
                <a:buClr>
                  <a:schemeClr val="tx2"/>
                </a:buClr>
              </a:pPr>
              <a:r>
                <a:rPr lang="en-US" sz="1176" dirty="0">
                  <a:latin typeface="Gill Sans MT" panose="020B0502020104020203" pitchFamily="34" charset="0"/>
                  <a:sym typeface="Gill Sans MT" panose="020B0502020104020203" pitchFamily="34" charset="0"/>
                </a:rPr>
                <a:t>Legend</a:t>
              </a:r>
            </a:p>
          </p:txBody>
        </p:sp>
        <p:sp>
          <p:nvSpPr>
            <p:cNvPr id="86" name="Legend3"/>
            <p:cNvSpPr>
              <a:spLocks noChangeArrowheads="1"/>
            </p:cNvSpPr>
            <p:nvPr/>
          </p:nvSpPr>
          <p:spPr bwMode="auto">
            <a:xfrm>
              <a:off x="8195850" y="848602"/>
              <a:ext cx="451442" cy="1846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77443">
                <a:buClr>
                  <a:schemeClr val="tx2"/>
                </a:buClr>
              </a:pPr>
              <a:r>
                <a:rPr lang="en-US" sz="1176" dirty="0">
                  <a:latin typeface="Gill Sans MT" panose="020B0502020104020203" pitchFamily="34" charset="0"/>
                  <a:sym typeface="Gill Sans MT" panose="020B0502020104020203" pitchFamily="34" charset="0"/>
                </a:rPr>
                <a:t>Legend</a:t>
              </a:r>
            </a:p>
          </p:txBody>
        </p:sp>
        <p:sp>
          <p:nvSpPr>
            <p:cNvPr id="87" name="Legend4"/>
            <p:cNvSpPr>
              <a:spLocks noChangeArrowheads="1"/>
            </p:cNvSpPr>
            <p:nvPr/>
          </p:nvSpPr>
          <p:spPr bwMode="auto">
            <a:xfrm>
              <a:off x="8195850" y="1120065"/>
              <a:ext cx="451442" cy="1846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77443">
                <a:buClr>
                  <a:schemeClr val="tx2"/>
                </a:buClr>
              </a:pPr>
              <a:r>
                <a:rPr lang="en-US" sz="1176" dirty="0">
                  <a:latin typeface="Gill Sans MT" panose="020B0502020104020203" pitchFamily="34" charset="0"/>
                  <a:sym typeface="Gill Sans MT" panose="020B0502020104020203" pitchFamily="34" charset="0"/>
                </a:rPr>
                <a:t>Legend</a:t>
              </a:r>
            </a:p>
          </p:txBody>
        </p:sp>
        <p:sp>
          <p:nvSpPr>
            <p:cNvPr id="88" name="Legend5"/>
            <p:cNvSpPr>
              <a:spLocks noChangeArrowheads="1"/>
            </p:cNvSpPr>
            <p:nvPr/>
          </p:nvSpPr>
          <p:spPr bwMode="auto">
            <a:xfrm>
              <a:off x="8195850" y="1396290"/>
              <a:ext cx="451442" cy="1846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77443">
                <a:buClr>
                  <a:schemeClr val="tx2"/>
                </a:buClr>
              </a:pPr>
              <a:r>
                <a:rPr lang="en-US" sz="1176" dirty="0">
                  <a:latin typeface="Gill Sans MT" panose="020B0502020104020203" pitchFamily="34" charset="0"/>
                  <a:sym typeface="Gill Sans MT" panose="020B0502020104020203" pitchFamily="34" charset="0"/>
                </a:rPr>
                <a:t>Legend</a:t>
              </a:r>
            </a:p>
          </p:txBody>
        </p:sp>
        <p:grpSp>
          <p:nvGrpSpPr>
            <p:cNvPr id="89" name="MoonLegend3"/>
            <p:cNvGrpSpPr>
              <a:grpSpLocks noChangeAspect="1"/>
            </p:cNvGrpSpPr>
            <p:nvPr>
              <p:custDataLst>
                <p:tags r:id="rId12"/>
              </p:custDataLst>
            </p:nvPr>
          </p:nvGrpSpPr>
          <p:grpSpPr bwMode="auto">
            <a:xfrm>
              <a:off x="7875175" y="835107"/>
              <a:ext cx="209550" cy="209551"/>
              <a:chOff x="4495" y="1198"/>
              <a:chExt cx="160" cy="160"/>
            </a:xfrm>
          </p:grpSpPr>
          <p:sp>
            <p:nvSpPr>
              <p:cNvPr id="93"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81" dirty="0">
                  <a:latin typeface="Gill Sans MT" panose="020B0502020104020203" pitchFamily="34" charset="0"/>
                  <a:sym typeface="Gill Sans MT" panose="020B0502020104020203" pitchFamily="34" charset="0"/>
                </a:endParaRPr>
              </a:p>
            </p:txBody>
          </p:sp>
          <p:sp>
            <p:nvSpPr>
              <p:cNvPr id="94"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81" dirty="0">
                  <a:latin typeface="Gill Sans MT" panose="020B0502020104020203" pitchFamily="34" charset="0"/>
                  <a:sym typeface="Gill Sans MT" panose="020B0502020104020203" pitchFamily="34" charset="0"/>
                </a:endParaRPr>
              </a:p>
            </p:txBody>
          </p:sp>
        </p:grpSp>
        <p:grpSp>
          <p:nvGrpSpPr>
            <p:cNvPr id="90" name="MoonLegend1"/>
            <p:cNvGrpSpPr>
              <a:grpSpLocks noChangeAspect="1"/>
            </p:cNvGrpSpPr>
            <p:nvPr userDrawn="1">
              <p:custDataLst>
                <p:tags r:id="rId13"/>
              </p:custDataLst>
            </p:nvPr>
          </p:nvGrpSpPr>
          <p:grpSpPr bwMode="auto">
            <a:xfrm>
              <a:off x="7875175" y="286625"/>
              <a:ext cx="209550" cy="209551"/>
              <a:chOff x="1694" y="2044"/>
              <a:chExt cx="160" cy="160"/>
            </a:xfrm>
          </p:grpSpPr>
          <p:sp>
            <p:nvSpPr>
              <p:cNvPr id="91"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81" dirty="0">
                  <a:latin typeface="Gill Sans MT" panose="020B0502020104020203" pitchFamily="34" charset="0"/>
                  <a:sym typeface="Gill Sans MT" panose="020B0502020104020203" pitchFamily="34" charset="0"/>
                </a:endParaRPr>
              </a:p>
            </p:txBody>
          </p:sp>
          <p:sp>
            <p:nvSpPr>
              <p:cNvPr id="92" name="Arc 42"/>
              <p:cNvSpPr>
                <a:spLocks noChangeAspect="1"/>
              </p:cNvSpPr>
              <p:nvPr>
                <p:custDataLst>
                  <p:tags r:id="rId15"/>
                </p:custDataLst>
              </p:nvPr>
            </p:nvSpPr>
            <p:spPr bwMode="auto">
              <a:xfrm>
                <a:off x="1694" y="2044"/>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581" dirty="0">
                  <a:latin typeface="Gill Sans MT" panose="020B0502020104020203" pitchFamily="34" charset="0"/>
                  <a:sym typeface="Gill Sans MT" panose="020B0502020104020203" pitchFamily="34" charset="0"/>
                </a:endParaRPr>
              </a:p>
            </p:txBody>
          </p:sp>
        </p:grpSp>
      </p:grpSp>
      <p:sp>
        <p:nvSpPr>
          <p:cNvPr id="62" name="TextBox 61">
            <a:extLst>
              <a:ext uri="{FF2B5EF4-FFF2-40B4-BE49-F238E27FC236}">
                <a16:creationId xmlns:a16="http://schemas.microsoft.com/office/drawing/2014/main" id="{764BFC46-38D3-4A38-AA29-C7899683C6C0}"/>
              </a:ext>
            </a:extLst>
          </p:cNvPr>
          <p:cNvSpPr txBox="1"/>
          <p:nvPr userDrawn="1"/>
        </p:nvSpPr>
        <p:spPr>
          <a:xfrm>
            <a:off x="162727" y="6369711"/>
            <a:ext cx="6803979" cy="215444"/>
          </a:xfrm>
          <a:prstGeom prst="rect">
            <a:avLst/>
          </a:prstGeom>
          <a:noFill/>
        </p:spPr>
        <p:txBody>
          <a:bodyPr wrap="square" rtlCol="0">
            <a:spAutoFit/>
          </a:bodyPr>
          <a:lstStyle/>
          <a:p>
            <a:r>
              <a:rPr lang="en-US" sz="800" b="0" dirty="0">
                <a:solidFill>
                  <a:srgbClr val="BA0C2F"/>
                </a:solidFill>
                <a:latin typeface="Gill Sans MT" panose="020B0502020104020203" pitchFamily="34" charset="0"/>
              </a:rPr>
              <a:t>USAID GLOBAL HEALTH SUPPLY CHAIN PROGRAM</a:t>
            </a:r>
            <a:r>
              <a:rPr lang="en-US" sz="800" b="0" dirty="0">
                <a:solidFill>
                  <a:srgbClr val="6C6463"/>
                </a:solidFill>
                <a:latin typeface="Gill Sans MT" panose="020B0502020104020203" pitchFamily="34" charset="0"/>
              </a:rPr>
              <a:t>-Procurement and Supply Management</a:t>
            </a:r>
          </a:p>
        </p:txBody>
      </p:sp>
      <p:cxnSp>
        <p:nvCxnSpPr>
          <p:cNvPr id="106" name="Straight Connector 105">
            <a:extLst>
              <a:ext uri="{FF2B5EF4-FFF2-40B4-BE49-F238E27FC236}">
                <a16:creationId xmlns:a16="http://schemas.microsoft.com/office/drawing/2014/main" id="{92E691F5-7F05-4505-B916-41B7C3A1CD36}"/>
              </a:ext>
            </a:extLst>
          </p:cNvPr>
          <p:cNvCxnSpPr>
            <a:cxnSpLocks/>
          </p:cNvCxnSpPr>
          <p:nvPr userDrawn="1"/>
        </p:nvCxnSpPr>
        <p:spPr>
          <a:xfrm>
            <a:off x="247329" y="6365998"/>
            <a:ext cx="851405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234065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txStyles>
    <p:titleStyle>
      <a:lvl1pPr algn="l" defTabSz="895255" rtl="0" eaLnBrk="1" fontAlgn="base" hangingPunct="1">
        <a:spcBef>
          <a:spcPct val="0"/>
        </a:spcBef>
        <a:spcAft>
          <a:spcPct val="0"/>
        </a:spcAft>
        <a:tabLst>
          <a:tab pos="269846" algn="l"/>
        </a:tabLst>
        <a:defRPr lang="x-none" sz="1960" b="0" baseline="0">
          <a:solidFill>
            <a:schemeClr val="accent3"/>
          </a:solidFill>
          <a:latin typeface="Gill Sans MT" panose="020B0502020104020203" pitchFamily="34" charset="0"/>
          <a:ea typeface="+mj-ea"/>
          <a:cs typeface="+mj-cs"/>
          <a:sym typeface="Gill Sans MT" panose="020B0502020104020203" pitchFamily="34" charset="0"/>
        </a:defRPr>
      </a:lvl1pPr>
      <a:lvl2pPr algn="l" defTabSz="895255" rtl="0" eaLnBrk="1" fontAlgn="base" hangingPunct="1">
        <a:spcBef>
          <a:spcPct val="0"/>
        </a:spcBef>
        <a:spcAft>
          <a:spcPct val="0"/>
        </a:spcAft>
        <a:defRPr lang="x-none" sz="1900" b="1">
          <a:solidFill>
            <a:schemeClr val="tx2"/>
          </a:solidFill>
          <a:latin typeface="Arial" charset="0"/>
        </a:defRPr>
      </a:lvl2pPr>
      <a:lvl3pPr algn="l" defTabSz="895255" rtl="0" eaLnBrk="1" fontAlgn="base" hangingPunct="1">
        <a:spcBef>
          <a:spcPct val="0"/>
        </a:spcBef>
        <a:spcAft>
          <a:spcPct val="0"/>
        </a:spcAft>
        <a:defRPr lang="x-none" sz="1900" b="1">
          <a:solidFill>
            <a:schemeClr val="tx2"/>
          </a:solidFill>
          <a:latin typeface="Arial" charset="0"/>
        </a:defRPr>
      </a:lvl3pPr>
      <a:lvl4pPr algn="l" defTabSz="895255" rtl="0" eaLnBrk="1" fontAlgn="base" hangingPunct="1">
        <a:spcBef>
          <a:spcPct val="0"/>
        </a:spcBef>
        <a:spcAft>
          <a:spcPct val="0"/>
        </a:spcAft>
        <a:defRPr lang="x-none" sz="1900" b="1">
          <a:solidFill>
            <a:schemeClr val="tx2"/>
          </a:solidFill>
          <a:latin typeface="Arial" charset="0"/>
        </a:defRPr>
      </a:lvl4pPr>
      <a:lvl5pPr algn="l" defTabSz="895255" rtl="0" eaLnBrk="1" fontAlgn="base" hangingPunct="1">
        <a:spcBef>
          <a:spcPct val="0"/>
        </a:spcBef>
        <a:spcAft>
          <a:spcPct val="0"/>
        </a:spcAft>
        <a:defRPr lang="x-none" sz="1900" b="1">
          <a:solidFill>
            <a:schemeClr val="tx2"/>
          </a:solidFill>
          <a:latin typeface="Arial" charset="0"/>
        </a:defRPr>
      </a:lvl5pPr>
      <a:lvl6pPr marL="457151" algn="l" defTabSz="895255" rtl="0" eaLnBrk="1" fontAlgn="base" hangingPunct="1">
        <a:spcBef>
          <a:spcPct val="0"/>
        </a:spcBef>
        <a:spcAft>
          <a:spcPct val="0"/>
        </a:spcAft>
        <a:defRPr lang="x-none" sz="1900" b="1">
          <a:solidFill>
            <a:schemeClr val="tx2"/>
          </a:solidFill>
          <a:latin typeface="Arial" charset="0"/>
        </a:defRPr>
      </a:lvl6pPr>
      <a:lvl7pPr marL="914303" algn="l" defTabSz="895255" rtl="0" eaLnBrk="1" fontAlgn="base" hangingPunct="1">
        <a:spcBef>
          <a:spcPct val="0"/>
        </a:spcBef>
        <a:spcAft>
          <a:spcPct val="0"/>
        </a:spcAft>
        <a:defRPr lang="x-none" sz="1900" b="1">
          <a:solidFill>
            <a:schemeClr val="tx2"/>
          </a:solidFill>
          <a:latin typeface="Arial" charset="0"/>
        </a:defRPr>
      </a:lvl7pPr>
      <a:lvl8pPr marL="1371454" algn="l" defTabSz="895255" rtl="0" eaLnBrk="1" fontAlgn="base" hangingPunct="1">
        <a:spcBef>
          <a:spcPct val="0"/>
        </a:spcBef>
        <a:spcAft>
          <a:spcPct val="0"/>
        </a:spcAft>
        <a:defRPr lang="x-none" sz="1900" b="1">
          <a:solidFill>
            <a:schemeClr val="tx2"/>
          </a:solidFill>
          <a:latin typeface="Arial" charset="0"/>
        </a:defRPr>
      </a:lvl8pPr>
      <a:lvl9pPr marL="1828607" algn="l" defTabSz="895255" rtl="0" eaLnBrk="1" fontAlgn="base" hangingPunct="1">
        <a:spcBef>
          <a:spcPct val="0"/>
        </a:spcBef>
        <a:spcAft>
          <a:spcPct val="0"/>
        </a:spcAft>
        <a:defRPr lang="x-none" sz="1900" b="1">
          <a:solidFill>
            <a:schemeClr val="tx2"/>
          </a:solidFill>
          <a:latin typeface="Arial" charset="0"/>
        </a:defRPr>
      </a:lvl9pPr>
    </p:titleStyle>
    <p:bodyStyle>
      <a:lvl1pPr marL="0" indent="0" algn="l" defTabSz="895255" rtl="0" eaLnBrk="1" fontAlgn="base" hangingPunct="1">
        <a:spcBef>
          <a:spcPct val="0"/>
        </a:spcBef>
        <a:spcAft>
          <a:spcPct val="0"/>
        </a:spcAft>
        <a:buClr>
          <a:schemeClr val="tx2"/>
        </a:buClr>
        <a:buSzPct val="100000"/>
        <a:defRPr lang="x-none" sz="1200" baseline="0">
          <a:solidFill>
            <a:schemeClr val="tx1"/>
          </a:solidFill>
          <a:latin typeface="Gill Sans MT" panose="020B0502020104020203" pitchFamily="34" charset="0"/>
          <a:ea typeface="+mn-ea"/>
          <a:cs typeface="+mn-cs"/>
          <a:sym typeface="Gill Sans MT" panose="020B0502020104020203" pitchFamily="34" charset="0"/>
        </a:defRPr>
      </a:lvl1pPr>
      <a:lvl2pPr marL="193655" indent="-192067" algn="l" defTabSz="895255" rtl="0" eaLnBrk="1" fontAlgn="base" hangingPunct="1">
        <a:spcBef>
          <a:spcPct val="0"/>
        </a:spcBef>
        <a:spcAft>
          <a:spcPct val="0"/>
        </a:spcAft>
        <a:buClr>
          <a:schemeClr val="tx2"/>
        </a:buClr>
        <a:buSzPct val="125000"/>
        <a:buFont typeface="Arial" charset="0"/>
        <a:buChar char="▪"/>
        <a:defRPr lang="x-none" sz="1200" baseline="0">
          <a:solidFill>
            <a:schemeClr val="tx1"/>
          </a:solidFill>
          <a:latin typeface="Gill Sans MT" panose="020B0502020104020203" pitchFamily="34" charset="0"/>
          <a:ea typeface="+mn-ea"/>
          <a:cs typeface="+mn-cs"/>
          <a:sym typeface="Gill Sans MT" panose="020B0502020104020203" pitchFamily="34" charset="0"/>
        </a:defRPr>
      </a:lvl2pPr>
      <a:lvl3pPr marL="457151" indent="-261910" algn="l" defTabSz="895255" rtl="0" eaLnBrk="1" fontAlgn="base" hangingPunct="1">
        <a:spcBef>
          <a:spcPct val="0"/>
        </a:spcBef>
        <a:spcAft>
          <a:spcPct val="0"/>
        </a:spcAft>
        <a:buClr>
          <a:schemeClr val="tx2"/>
        </a:buClr>
        <a:buSzPct val="120000"/>
        <a:buFont typeface="Arial" charset="0"/>
        <a:buChar char="–"/>
        <a:defRPr lang="x-none" sz="1200" baseline="0">
          <a:solidFill>
            <a:schemeClr val="tx1"/>
          </a:solidFill>
          <a:latin typeface="Gill Sans MT" panose="020B0502020104020203" pitchFamily="34" charset="0"/>
          <a:ea typeface="+mn-ea"/>
          <a:cs typeface="+mn-cs"/>
          <a:sym typeface="Gill Sans MT" panose="020B0502020104020203" pitchFamily="34" charset="0"/>
        </a:defRPr>
      </a:lvl3pPr>
      <a:lvl4pPr marL="614298" indent="-155558" algn="l" defTabSz="895255" rtl="0" eaLnBrk="1" fontAlgn="base" hangingPunct="1">
        <a:spcBef>
          <a:spcPct val="0"/>
        </a:spcBef>
        <a:spcAft>
          <a:spcPct val="0"/>
        </a:spcAft>
        <a:buClr>
          <a:schemeClr val="tx2"/>
        </a:buClr>
        <a:buSzPct val="120000"/>
        <a:buFont typeface="Arial" charset="0"/>
        <a:buChar char="▫"/>
        <a:defRPr lang="x-none" sz="1200" baseline="0">
          <a:solidFill>
            <a:schemeClr val="tx1"/>
          </a:solidFill>
          <a:latin typeface="Gill Sans MT" panose="020B0502020104020203" pitchFamily="34" charset="0"/>
          <a:ea typeface="+mn-ea"/>
          <a:cs typeface="+mn-cs"/>
          <a:sym typeface="Gill Sans MT" panose="020B0502020104020203" pitchFamily="34" charset="0"/>
        </a:defRPr>
      </a:lvl4pPr>
      <a:lvl5pPr marL="749728" indent="-130162" algn="l" defTabSz="895255" rtl="0" eaLnBrk="1" fontAlgn="base" hangingPunct="1">
        <a:spcBef>
          <a:spcPct val="0"/>
        </a:spcBef>
        <a:spcAft>
          <a:spcPct val="0"/>
        </a:spcAft>
        <a:buClr>
          <a:schemeClr val="tx2"/>
        </a:buClr>
        <a:buSzPct val="89000"/>
        <a:buFont typeface="Arial" charset="0"/>
        <a:buChar char="-"/>
        <a:defRPr lang="x-none" sz="1200" baseline="0">
          <a:solidFill>
            <a:schemeClr val="tx1"/>
          </a:solidFill>
          <a:latin typeface="Gill Sans MT" panose="020B0502020104020203" pitchFamily="34" charset="0"/>
          <a:ea typeface="+mn-ea"/>
          <a:cs typeface="+mn-cs"/>
          <a:sym typeface="Gill Sans MT" panose="020B0502020104020203" pitchFamily="34" charset="0"/>
        </a:defRPr>
      </a:lvl5pPr>
      <a:lvl6pPr marL="749728" indent="-130162" algn="l" defTabSz="895255" rtl="0" eaLnBrk="1" fontAlgn="base" hangingPunct="1">
        <a:spcBef>
          <a:spcPct val="0"/>
        </a:spcBef>
        <a:spcAft>
          <a:spcPct val="0"/>
        </a:spcAft>
        <a:buClr>
          <a:schemeClr val="tx2"/>
        </a:buClr>
        <a:buSzPct val="89000"/>
        <a:buFont typeface="Arial" charset="0"/>
        <a:buChar char="-"/>
        <a:defRPr lang="x-none" sz="1599"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lang="x-none" sz="1599"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lang="x-none" sz="1599"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lang="x-none" sz="1599" baseline="0">
          <a:solidFill>
            <a:schemeClr val="tx1"/>
          </a:solidFill>
          <a:latin typeface="+mn-lt"/>
        </a:defRPr>
      </a:lvl9pPr>
    </p:bodyStyle>
    <p:otherStyle>
      <a:defPPr>
        <a:defRPr lang="x-none"/>
      </a:defPPr>
      <a:lvl1pPr marL="0" algn="l" defTabSz="914303" rtl="0" eaLnBrk="1" latinLnBrk="0" hangingPunct="1">
        <a:defRPr lang="x-none" sz="1800" kern="1200">
          <a:solidFill>
            <a:schemeClr val="tx1"/>
          </a:solidFill>
          <a:latin typeface="+mn-lt"/>
          <a:ea typeface="+mn-ea"/>
          <a:cs typeface="+mn-cs"/>
        </a:defRPr>
      </a:lvl1pPr>
      <a:lvl2pPr marL="457151" algn="l" defTabSz="914303" rtl="0" eaLnBrk="1" latinLnBrk="0" hangingPunct="1">
        <a:defRPr lang="x-none" sz="1800" kern="1200">
          <a:solidFill>
            <a:schemeClr val="tx1"/>
          </a:solidFill>
          <a:latin typeface="+mn-lt"/>
          <a:ea typeface="+mn-ea"/>
          <a:cs typeface="+mn-cs"/>
        </a:defRPr>
      </a:lvl2pPr>
      <a:lvl3pPr marL="914303" algn="l" defTabSz="914303" rtl="0" eaLnBrk="1" latinLnBrk="0" hangingPunct="1">
        <a:defRPr lang="x-none" sz="1800" kern="1200">
          <a:solidFill>
            <a:schemeClr val="tx1"/>
          </a:solidFill>
          <a:latin typeface="+mn-lt"/>
          <a:ea typeface="+mn-ea"/>
          <a:cs typeface="+mn-cs"/>
        </a:defRPr>
      </a:lvl3pPr>
      <a:lvl4pPr marL="1371454" algn="l" defTabSz="914303" rtl="0" eaLnBrk="1" latinLnBrk="0" hangingPunct="1">
        <a:defRPr lang="x-none" sz="1800" kern="1200">
          <a:solidFill>
            <a:schemeClr val="tx1"/>
          </a:solidFill>
          <a:latin typeface="+mn-lt"/>
          <a:ea typeface="+mn-ea"/>
          <a:cs typeface="+mn-cs"/>
        </a:defRPr>
      </a:lvl4pPr>
      <a:lvl5pPr marL="1828607" algn="l" defTabSz="914303" rtl="0" eaLnBrk="1" latinLnBrk="0" hangingPunct="1">
        <a:defRPr lang="x-none" sz="1800" kern="1200">
          <a:solidFill>
            <a:schemeClr val="tx1"/>
          </a:solidFill>
          <a:latin typeface="+mn-lt"/>
          <a:ea typeface="+mn-ea"/>
          <a:cs typeface="+mn-cs"/>
        </a:defRPr>
      </a:lvl5pPr>
      <a:lvl6pPr marL="2285758" algn="l" defTabSz="914303" rtl="0" eaLnBrk="1" latinLnBrk="0" hangingPunct="1">
        <a:defRPr lang="x-none" sz="1800" kern="1200">
          <a:solidFill>
            <a:schemeClr val="tx1"/>
          </a:solidFill>
          <a:latin typeface="+mn-lt"/>
          <a:ea typeface="+mn-ea"/>
          <a:cs typeface="+mn-cs"/>
        </a:defRPr>
      </a:lvl6pPr>
      <a:lvl7pPr marL="2742909" algn="l" defTabSz="914303" rtl="0" eaLnBrk="1" latinLnBrk="0" hangingPunct="1">
        <a:defRPr lang="x-none" sz="1800" kern="1200">
          <a:solidFill>
            <a:schemeClr val="tx1"/>
          </a:solidFill>
          <a:latin typeface="+mn-lt"/>
          <a:ea typeface="+mn-ea"/>
          <a:cs typeface="+mn-cs"/>
        </a:defRPr>
      </a:lvl7pPr>
      <a:lvl8pPr marL="3200061" algn="l" defTabSz="914303" rtl="0" eaLnBrk="1" latinLnBrk="0" hangingPunct="1">
        <a:defRPr lang="x-none" sz="1800" kern="1200">
          <a:solidFill>
            <a:schemeClr val="tx1"/>
          </a:solidFill>
          <a:latin typeface="+mn-lt"/>
          <a:ea typeface="+mn-ea"/>
          <a:cs typeface="+mn-cs"/>
        </a:defRPr>
      </a:lvl8pPr>
      <a:lvl9pPr marL="3657212" algn="l" defTabSz="914303" rtl="0" eaLnBrk="1" latinLnBrk="0" hangingPunct="1">
        <a:defRPr lang="x-none"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9FD178-77F5-433A-B453-BE2B86FCD775}"/>
              </a:ext>
            </a:extLst>
          </p:cNvPr>
          <p:cNvGraphicFramePr>
            <a:graphicFrameLocks noChangeAspect="1"/>
          </p:cNvGraphicFramePr>
          <p:nvPr userDrawn="1">
            <p:custDataLst>
              <p:tags r:id="rId24"/>
            </p:custDataLst>
            <p:extLst>
              <p:ext uri="{D42A27DB-BD31-4B8C-83A1-F6EECF244321}">
                <p14:modId xmlns:p14="http://schemas.microsoft.com/office/powerpoint/2010/main" val="2550238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930" name="think-cell Slide" r:id="rId26" imgW="526" imgH="526" progId="TCLayout.ActiveDocument.1">
                  <p:embed/>
                </p:oleObj>
              </mc:Choice>
              <mc:Fallback>
                <p:oleObj name="think-cell Slide" r:id="rId26" imgW="526" imgH="526" progId="TCLayout.ActiveDocument.1">
                  <p:embed/>
                  <p:pic>
                    <p:nvPicPr>
                      <p:cNvPr id="0" name=""/>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8FE28BD-10B3-422D-89E2-878D6215701E}"/>
              </a:ext>
            </a:extLst>
          </p:cNvPr>
          <p:cNvSpPr/>
          <p:nvPr userDrawn="1">
            <p:custDataLst>
              <p:tags r:id="rId2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52" b="0" i="0" baseline="0" dirty="0">
              <a:latin typeface="Gill Sans MT" panose="020B0502020104020203" pitchFamily="34" charset="0"/>
              <a:ea typeface="+mj-ea"/>
              <a:cs typeface="+mj-cs"/>
              <a:sym typeface="Gill Sans MT" panose="020B0502020104020203" pitchFamily="34" charset="0"/>
            </a:endParaRPr>
          </a:p>
        </p:txBody>
      </p:sp>
      <p:sp>
        <p:nvSpPr>
          <p:cNvPr id="2" name="Title Placeholder 1"/>
          <p:cNvSpPr>
            <a:spLocks noGrp="1"/>
          </p:cNvSpPr>
          <p:nvPr>
            <p:ph type="title"/>
          </p:nvPr>
        </p:nvSpPr>
        <p:spPr>
          <a:xfrm>
            <a:off x="224036" y="183170"/>
            <a:ext cx="7729240" cy="416277"/>
          </a:xfrm>
          <a:prstGeom prst="rect">
            <a:avLst/>
          </a:prstGeom>
        </p:spPr>
        <p:txBody>
          <a:bodyPr vert="horz" lIns="91440" tIns="45720" rIns="91440" bIns="45720" rtlCol="0" anchor="ctr">
            <a:spAutoFit/>
          </a:bodyPr>
          <a:lstStyle/>
          <a:p>
            <a:r>
              <a:rPr lang="en-US"/>
              <a:t>Click to edit Master title style</a:t>
            </a:r>
            <a:endParaRPr lang="en-US" dirty="0"/>
          </a:p>
        </p:txBody>
      </p:sp>
      <p:sp>
        <p:nvSpPr>
          <p:cNvPr id="3" name="Text Placeholder 2"/>
          <p:cNvSpPr>
            <a:spLocks noGrp="1"/>
          </p:cNvSpPr>
          <p:nvPr>
            <p:ph type="body" idx="1"/>
          </p:nvPr>
        </p:nvSpPr>
        <p:spPr>
          <a:xfrm>
            <a:off x="224036" y="1247829"/>
            <a:ext cx="7729240" cy="4264714"/>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7989122" y="6436969"/>
            <a:ext cx="916307" cy="211155"/>
          </a:xfrm>
          <a:prstGeom prst="rect">
            <a:avLst/>
          </a:prstGeom>
        </p:spPr>
        <p:txBody>
          <a:bodyPr vert="horz" lIns="91440" tIns="45720" rIns="91440" bIns="45720" rtlCol="0" anchor="ctr">
            <a:spAutoFit/>
          </a:bodyPr>
          <a:lstStyle>
            <a:lvl1pPr algn="r">
              <a:defRPr sz="784" b="1">
                <a:solidFill>
                  <a:srgbClr val="BA0C2F"/>
                </a:solidFill>
                <a:latin typeface="Gill Sans MT" panose="020B0502020104020203" pitchFamily="34" charset="0"/>
              </a:defRPr>
            </a:lvl1pPr>
          </a:lstStyle>
          <a:p>
            <a:fld id="{AFB4637D-E648-4D47-95AC-4BFF987C325D}" type="slidenum">
              <a:rPr lang="en-US" smtClean="0"/>
              <a:pPr/>
              <a:t>‹#›</a:t>
            </a:fld>
            <a:endParaRPr lang="en-US" dirty="0"/>
          </a:p>
        </p:txBody>
      </p:sp>
      <p:sp>
        <p:nvSpPr>
          <p:cNvPr id="15" name="TextBox 14">
            <a:extLst>
              <a:ext uri="{FF2B5EF4-FFF2-40B4-BE49-F238E27FC236}">
                <a16:creationId xmlns:a16="http://schemas.microsoft.com/office/drawing/2014/main" id="{C4576F07-FB61-4B66-906D-29336A30A84C}"/>
              </a:ext>
            </a:extLst>
          </p:cNvPr>
          <p:cNvSpPr txBox="1"/>
          <p:nvPr/>
        </p:nvSpPr>
        <p:spPr>
          <a:xfrm>
            <a:off x="224036" y="6436969"/>
            <a:ext cx="6668136" cy="211155"/>
          </a:xfrm>
          <a:prstGeom prst="rect">
            <a:avLst/>
          </a:prstGeom>
          <a:noFill/>
        </p:spPr>
        <p:txBody>
          <a:bodyPr wrap="square" rtlCol="0">
            <a:spAutoFit/>
          </a:bodyPr>
          <a:lstStyle/>
          <a:p>
            <a:r>
              <a:rPr lang="en-US" sz="784" b="0" dirty="0">
                <a:solidFill>
                  <a:srgbClr val="BA0C2F"/>
                </a:solidFill>
                <a:latin typeface="Gill Sans MT" panose="020B0502020104020203" pitchFamily="34" charset="0"/>
              </a:rPr>
              <a:t>USAID GLOBAL HEALTH SUPPLY CHAIN PROGRAM</a:t>
            </a:r>
            <a:r>
              <a:rPr lang="en-US" sz="784" b="0" dirty="0">
                <a:solidFill>
                  <a:srgbClr val="6C6463"/>
                </a:solidFill>
                <a:latin typeface="Gill Sans MT" panose="020B0502020104020203" pitchFamily="34" charset="0"/>
              </a:rPr>
              <a:t>-Procurement and Supply Management</a:t>
            </a:r>
          </a:p>
        </p:txBody>
      </p:sp>
    </p:spTree>
    <p:custDataLst>
      <p:tags r:id="rId23"/>
    </p:custDataLst>
    <p:extLst>
      <p:ext uri="{BB962C8B-B14F-4D97-AF65-F5344CB8AC3E}">
        <p14:creationId xmlns:p14="http://schemas.microsoft.com/office/powerpoint/2010/main" val="2631715116"/>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 id="2147483684" r:id="rId19"/>
    <p:sldLayoutId id="2147483685" r:id="rId20"/>
  </p:sldLayoutIdLst>
  <p:hf hdr="0" ftr="0" dt="0"/>
  <p:txStyles>
    <p:titleStyle>
      <a:lvl1pPr algn="l" defTabSz="896112" rtl="0" eaLnBrk="1" latinLnBrk="0" hangingPunct="1">
        <a:lnSpc>
          <a:spcPct val="90000"/>
        </a:lnSpc>
        <a:spcBef>
          <a:spcPct val="0"/>
        </a:spcBef>
        <a:buNone/>
        <a:defRPr sz="2352" kern="1200">
          <a:solidFill>
            <a:srgbClr val="BA0C2F"/>
          </a:solidFill>
          <a:latin typeface="Gill Sans MT" panose="020B0502020104020203" pitchFamily="34" charset="0"/>
          <a:ea typeface="+mj-ea"/>
          <a:cs typeface="+mj-cs"/>
        </a:defRPr>
      </a:lvl1pPr>
    </p:titleStyle>
    <p:bodyStyle>
      <a:lvl1pPr marL="224028" indent="-224028" algn="l" defTabSz="896112" rtl="0" eaLnBrk="1" latinLnBrk="0" hangingPunct="1">
        <a:lnSpc>
          <a:spcPct val="100000"/>
        </a:lnSpc>
        <a:spcBef>
          <a:spcPts val="1176"/>
        </a:spcBef>
        <a:buClr>
          <a:srgbClr val="6C6463"/>
        </a:buClr>
        <a:buFont typeface="Arial" panose="020B0604020202020204" pitchFamily="34" charset="0"/>
        <a:buChar char="•"/>
        <a:defRPr sz="2744" kern="1200">
          <a:solidFill>
            <a:srgbClr val="6C6463"/>
          </a:solidFill>
          <a:latin typeface="Gill Sans MT" panose="020B0502020104020203" pitchFamily="34" charset="0"/>
          <a:ea typeface="+mn-ea"/>
          <a:cs typeface="+mn-cs"/>
        </a:defRPr>
      </a:lvl1pPr>
      <a:lvl2pPr marL="672084" indent="-224028" algn="l" defTabSz="896112" rtl="0" eaLnBrk="1" latinLnBrk="0" hangingPunct="1">
        <a:lnSpc>
          <a:spcPct val="100000"/>
        </a:lnSpc>
        <a:spcBef>
          <a:spcPts val="294"/>
        </a:spcBef>
        <a:buClr>
          <a:srgbClr val="6C6463"/>
        </a:buClr>
        <a:buFont typeface="Courier New" panose="02070309020205020404" pitchFamily="49" charset="0"/>
        <a:buChar char="o"/>
        <a:defRPr sz="2352" kern="1200">
          <a:solidFill>
            <a:schemeClr val="accent6"/>
          </a:solidFill>
          <a:latin typeface="Gill Sans MT" panose="020B0502020104020203" pitchFamily="34" charset="0"/>
          <a:ea typeface="+mn-ea"/>
          <a:cs typeface="+mn-cs"/>
        </a:defRPr>
      </a:lvl2pPr>
      <a:lvl3pPr marL="1120140" indent="-224028" algn="l" defTabSz="896112" rtl="0" eaLnBrk="1" latinLnBrk="0" hangingPunct="1">
        <a:lnSpc>
          <a:spcPct val="100000"/>
        </a:lnSpc>
        <a:spcBef>
          <a:spcPts val="294"/>
        </a:spcBef>
        <a:buClr>
          <a:srgbClr val="6C6463"/>
        </a:buClr>
        <a:buFont typeface="Gill Sans MT" panose="020B0502020104020203" pitchFamily="34" charset="0"/>
        <a:buChar char="–"/>
        <a:defRPr sz="1960" kern="1200">
          <a:solidFill>
            <a:schemeClr val="accent6"/>
          </a:solidFill>
          <a:latin typeface="Gill Sans MT" panose="020B0502020104020203" pitchFamily="34" charset="0"/>
          <a:ea typeface="+mn-ea"/>
          <a:cs typeface="+mn-cs"/>
        </a:defRPr>
      </a:lvl3pPr>
      <a:lvl4pPr marL="1568196" indent="-224028" algn="l" defTabSz="896112" rtl="0" eaLnBrk="1" latinLnBrk="0" hangingPunct="1">
        <a:lnSpc>
          <a:spcPct val="100000"/>
        </a:lnSpc>
        <a:spcBef>
          <a:spcPts val="294"/>
        </a:spcBef>
        <a:buClr>
          <a:srgbClr val="6C6463"/>
        </a:buClr>
        <a:buFont typeface="Arial" panose="020B0604020202020204" pitchFamily="34" charset="0"/>
        <a:buChar char="•"/>
        <a:defRPr sz="1764" kern="1200">
          <a:solidFill>
            <a:schemeClr val="accent6"/>
          </a:solidFill>
          <a:latin typeface="Gill Sans MT" panose="020B0502020104020203" pitchFamily="34" charset="0"/>
          <a:ea typeface="+mn-ea"/>
          <a:cs typeface="+mn-cs"/>
        </a:defRPr>
      </a:lvl4pPr>
      <a:lvl5pPr marL="2016252" indent="-224028" algn="l" defTabSz="896112" rtl="0" eaLnBrk="1" latinLnBrk="0" hangingPunct="1">
        <a:lnSpc>
          <a:spcPct val="100000"/>
        </a:lnSpc>
        <a:spcBef>
          <a:spcPts val="294"/>
        </a:spcBef>
        <a:buClr>
          <a:srgbClr val="6C6463"/>
        </a:buClr>
        <a:buFont typeface="Arial" panose="020B0604020202020204" pitchFamily="34" charset="0"/>
        <a:buChar char="•"/>
        <a:defRPr sz="1764" kern="1200">
          <a:solidFill>
            <a:srgbClr val="6C6463"/>
          </a:solidFill>
          <a:latin typeface="Gill Sans MT" panose="020B0502020104020203" pitchFamily="34" charset="0"/>
          <a:ea typeface="+mn-ea"/>
          <a:cs typeface="+mn-cs"/>
        </a:defRPr>
      </a:lvl5pPr>
      <a:lvl6pPr marL="2464308" indent="-224028" algn="l" defTabSz="896112" rtl="0" eaLnBrk="1" latinLnBrk="0" hangingPunct="1">
        <a:lnSpc>
          <a:spcPct val="100000"/>
        </a:lnSpc>
        <a:spcBef>
          <a:spcPts val="294"/>
        </a:spcBef>
        <a:buClr>
          <a:srgbClr val="6C6463"/>
        </a:buClr>
        <a:buFont typeface="Arial" panose="020B0604020202020204" pitchFamily="34" charset="0"/>
        <a:buChar char="•"/>
        <a:defRPr sz="1764" kern="1200">
          <a:solidFill>
            <a:srgbClr val="6C6463"/>
          </a:solidFill>
          <a:latin typeface="Gill Sans MT" panose="020B0502020104020203" pitchFamily="34" charset="0"/>
          <a:ea typeface="+mn-ea"/>
          <a:cs typeface="+mn-cs"/>
        </a:defRPr>
      </a:lvl6pPr>
      <a:lvl7pPr marL="2912364" indent="-224028" algn="l" defTabSz="896112" rtl="0" eaLnBrk="1" latinLnBrk="0" hangingPunct="1">
        <a:lnSpc>
          <a:spcPct val="100000"/>
        </a:lnSpc>
        <a:spcBef>
          <a:spcPts val="294"/>
        </a:spcBef>
        <a:buClr>
          <a:srgbClr val="6C6463"/>
        </a:buClr>
        <a:buFont typeface="Arial" panose="020B0604020202020204" pitchFamily="34" charset="0"/>
        <a:buChar char="•"/>
        <a:defRPr sz="1764" kern="1200">
          <a:solidFill>
            <a:srgbClr val="6C6463"/>
          </a:solidFill>
          <a:latin typeface="Gill Sans MT" panose="020B0502020104020203" pitchFamily="34" charset="0"/>
          <a:ea typeface="+mn-ea"/>
          <a:cs typeface="+mn-cs"/>
        </a:defRPr>
      </a:lvl7pPr>
      <a:lvl8pPr marL="3360420" indent="-224028" algn="l" defTabSz="896112" rtl="0" eaLnBrk="1" latinLnBrk="0" hangingPunct="1">
        <a:lnSpc>
          <a:spcPct val="100000"/>
        </a:lnSpc>
        <a:spcBef>
          <a:spcPts val="294"/>
        </a:spcBef>
        <a:buClr>
          <a:srgbClr val="6C6463"/>
        </a:buClr>
        <a:buFont typeface="Arial" panose="020B0604020202020204" pitchFamily="34" charset="0"/>
        <a:buChar char="•"/>
        <a:defRPr sz="1764" kern="1200">
          <a:solidFill>
            <a:srgbClr val="6C6463"/>
          </a:solidFill>
          <a:latin typeface="Gill Sans MT" panose="020B0502020104020203" pitchFamily="34" charset="0"/>
          <a:ea typeface="+mn-ea"/>
          <a:cs typeface="+mn-cs"/>
        </a:defRPr>
      </a:lvl8pPr>
      <a:lvl9pPr marL="3808476" indent="-224028" algn="l" defTabSz="896112"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9pPr>
    </p:bodyStyle>
    <p:otherStyle>
      <a:defPPr>
        <a:defRPr lang="en-US"/>
      </a:defPPr>
      <a:lvl1pPr marL="0" algn="l" defTabSz="896112" rtl="0" eaLnBrk="1" latinLnBrk="0" hangingPunct="1">
        <a:defRPr sz="1764" kern="1200">
          <a:solidFill>
            <a:schemeClr val="tx1"/>
          </a:solidFill>
          <a:latin typeface="+mn-lt"/>
          <a:ea typeface="+mn-ea"/>
          <a:cs typeface="+mn-cs"/>
        </a:defRPr>
      </a:lvl1pPr>
      <a:lvl2pPr marL="448056" algn="l" defTabSz="896112" rtl="0" eaLnBrk="1" latinLnBrk="0" hangingPunct="1">
        <a:defRPr sz="1764" kern="1200">
          <a:solidFill>
            <a:schemeClr val="tx1"/>
          </a:solidFill>
          <a:latin typeface="+mn-lt"/>
          <a:ea typeface="+mn-ea"/>
          <a:cs typeface="+mn-cs"/>
        </a:defRPr>
      </a:lvl2pPr>
      <a:lvl3pPr marL="896112" algn="l" defTabSz="896112" rtl="0" eaLnBrk="1" latinLnBrk="0" hangingPunct="1">
        <a:defRPr sz="1764" kern="1200">
          <a:solidFill>
            <a:schemeClr val="tx1"/>
          </a:solidFill>
          <a:latin typeface="+mn-lt"/>
          <a:ea typeface="+mn-ea"/>
          <a:cs typeface="+mn-cs"/>
        </a:defRPr>
      </a:lvl3pPr>
      <a:lvl4pPr marL="1344168" algn="l" defTabSz="896112" rtl="0" eaLnBrk="1" latinLnBrk="0" hangingPunct="1">
        <a:defRPr sz="1764" kern="1200">
          <a:solidFill>
            <a:schemeClr val="tx1"/>
          </a:solidFill>
          <a:latin typeface="+mn-lt"/>
          <a:ea typeface="+mn-ea"/>
          <a:cs typeface="+mn-cs"/>
        </a:defRPr>
      </a:lvl4pPr>
      <a:lvl5pPr marL="1792224" algn="l" defTabSz="896112" rtl="0" eaLnBrk="1" latinLnBrk="0" hangingPunct="1">
        <a:defRPr sz="1764" kern="1200">
          <a:solidFill>
            <a:schemeClr val="tx1"/>
          </a:solidFill>
          <a:latin typeface="+mn-lt"/>
          <a:ea typeface="+mn-ea"/>
          <a:cs typeface="+mn-cs"/>
        </a:defRPr>
      </a:lvl5pPr>
      <a:lvl6pPr marL="2240280" algn="l" defTabSz="896112" rtl="0" eaLnBrk="1" latinLnBrk="0" hangingPunct="1">
        <a:defRPr sz="1764" kern="1200">
          <a:solidFill>
            <a:schemeClr val="tx1"/>
          </a:solidFill>
          <a:latin typeface="+mn-lt"/>
          <a:ea typeface="+mn-ea"/>
          <a:cs typeface="+mn-cs"/>
        </a:defRPr>
      </a:lvl6pPr>
      <a:lvl7pPr marL="2688336" algn="l" defTabSz="896112" rtl="0" eaLnBrk="1" latinLnBrk="0" hangingPunct="1">
        <a:defRPr sz="1764" kern="1200">
          <a:solidFill>
            <a:schemeClr val="tx1"/>
          </a:solidFill>
          <a:latin typeface="+mn-lt"/>
          <a:ea typeface="+mn-ea"/>
          <a:cs typeface="+mn-cs"/>
        </a:defRPr>
      </a:lvl7pPr>
      <a:lvl8pPr marL="3136392" algn="l" defTabSz="896112" rtl="0" eaLnBrk="1" latinLnBrk="0" hangingPunct="1">
        <a:defRPr sz="1764" kern="1200">
          <a:solidFill>
            <a:schemeClr val="tx1"/>
          </a:solidFill>
          <a:latin typeface="+mn-lt"/>
          <a:ea typeface="+mn-ea"/>
          <a:cs typeface="+mn-cs"/>
        </a:defRPr>
      </a:lvl8pPr>
      <a:lvl9pPr marL="3584448" algn="l" defTabSz="896112" rtl="0" eaLnBrk="1" latinLnBrk="0" hangingPunct="1">
        <a:defRPr sz="1764"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DF813A-2949-4D17-90EE-D04A257B9E3A}"/>
              </a:ext>
            </a:extLst>
          </p:cNvPr>
          <p:cNvGraphicFramePr>
            <a:graphicFrameLocks noChangeAspect="1"/>
          </p:cNvGraphicFramePr>
          <p:nvPr userDrawn="1">
            <p:custDataLst>
              <p:tags r:id="rId24"/>
            </p:custDataLst>
            <p:extLst>
              <p:ext uri="{D42A27DB-BD31-4B8C-83A1-F6EECF244321}">
                <p14:modId xmlns:p14="http://schemas.microsoft.com/office/powerpoint/2010/main" val="2401495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954" name="think-cell Slide" r:id="rId26" imgW="526" imgH="526" progId="TCLayout.ActiveDocument.1">
                  <p:embed/>
                </p:oleObj>
              </mc:Choice>
              <mc:Fallback>
                <p:oleObj name="think-cell Slide" r:id="rId26" imgW="526" imgH="526" progId="TCLayout.ActiveDocument.1">
                  <p:embed/>
                  <p:pic>
                    <p:nvPicPr>
                      <p:cNvPr id="0" name=""/>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7FCD6D0-FE97-40D0-8E48-15DF3A8E1192}"/>
              </a:ext>
            </a:extLst>
          </p:cNvPr>
          <p:cNvSpPr/>
          <p:nvPr userDrawn="1">
            <p:custDataLst>
              <p:tags r:id="rId2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52" b="0" i="0" baseline="0" dirty="0">
              <a:latin typeface="Gill Sans MT" panose="020B0502020104020203" pitchFamily="34" charset="0"/>
              <a:ea typeface="+mj-ea"/>
              <a:cs typeface="+mj-cs"/>
              <a:sym typeface="Gill Sans MT" panose="020B0502020104020203" pitchFamily="34" charset="0"/>
            </a:endParaRPr>
          </a:p>
        </p:txBody>
      </p:sp>
      <p:sp>
        <p:nvSpPr>
          <p:cNvPr id="2" name="Title Placeholder 1"/>
          <p:cNvSpPr>
            <a:spLocks noGrp="1"/>
          </p:cNvSpPr>
          <p:nvPr>
            <p:ph type="title"/>
          </p:nvPr>
        </p:nvSpPr>
        <p:spPr>
          <a:xfrm>
            <a:off x="224036" y="183170"/>
            <a:ext cx="7729240" cy="416277"/>
          </a:xfrm>
          <a:prstGeom prst="rect">
            <a:avLst/>
          </a:prstGeom>
        </p:spPr>
        <p:txBody>
          <a:bodyPr vert="horz" lIns="91440" tIns="45720" rIns="91440" bIns="45720" rtlCol="0" anchor="ctr">
            <a:spAutoFit/>
          </a:bodyPr>
          <a:lstStyle/>
          <a:p>
            <a:r>
              <a:rPr lang="en-US"/>
              <a:t>Click to edit Master title style</a:t>
            </a:r>
            <a:endParaRPr lang="en-US" dirty="0"/>
          </a:p>
        </p:txBody>
      </p:sp>
      <p:sp>
        <p:nvSpPr>
          <p:cNvPr id="3" name="Text Placeholder 2"/>
          <p:cNvSpPr>
            <a:spLocks noGrp="1"/>
          </p:cNvSpPr>
          <p:nvPr>
            <p:ph type="body" idx="1"/>
          </p:nvPr>
        </p:nvSpPr>
        <p:spPr>
          <a:xfrm>
            <a:off x="224036" y="1247829"/>
            <a:ext cx="7729240" cy="4264714"/>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7989122" y="6436969"/>
            <a:ext cx="916307" cy="211155"/>
          </a:xfrm>
          <a:prstGeom prst="rect">
            <a:avLst/>
          </a:prstGeom>
        </p:spPr>
        <p:txBody>
          <a:bodyPr vert="horz" lIns="91440" tIns="45720" rIns="91440" bIns="45720" rtlCol="0" anchor="ctr">
            <a:spAutoFit/>
          </a:bodyPr>
          <a:lstStyle>
            <a:lvl1pPr algn="r">
              <a:defRPr sz="784" b="1">
                <a:solidFill>
                  <a:srgbClr val="BA0C2F"/>
                </a:solidFill>
                <a:latin typeface="Gill Sans MT" panose="020B0502020104020203" pitchFamily="34" charset="0"/>
              </a:defRPr>
            </a:lvl1pPr>
          </a:lstStyle>
          <a:p>
            <a:fld id="{AFB4637D-E648-4D47-95AC-4BFF987C325D}" type="slidenum">
              <a:rPr lang="en-US" smtClean="0"/>
              <a:pPr/>
              <a:t>‹#›</a:t>
            </a:fld>
            <a:endParaRPr lang="en-US" dirty="0"/>
          </a:p>
        </p:txBody>
      </p:sp>
      <p:sp>
        <p:nvSpPr>
          <p:cNvPr id="15" name="TextBox 14">
            <a:extLst>
              <a:ext uri="{FF2B5EF4-FFF2-40B4-BE49-F238E27FC236}">
                <a16:creationId xmlns:a16="http://schemas.microsoft.com/office/drawing/2014/main" id="{C4576F07-FB61-4B66-906D-29336A30A84C}"/>
              </a:ext>
            </a:extLst>
          </p:cNvPr>
          <p:cNvSpPr txBox="1"/>
          <p:nvPr/>
        </p:nvSpPr>
        <p:spPr>
          <a:xfrm>
            <a:off x="224036" y="6436969"/>
            <a:ext cx="6668136" cy="211155"/>
          </a:xfrm>
          <a:prstGeom prst="rect">
            <a:avLst/>
          </a:prstGeom>
          <a:noFill/>
        </p:spPr>
        <p:txBody>
          <a:bodyPr wrap="square" rtlCol="0">
            <a:spAutoFit/>
          </a:bodyPr>
          <a:lstStyle/>
          <a:p>
            <a:r>
              <a:rPr lang="en-US" sz="784" b="0" dirty="0">
                <a:solidFill>
                  <a:srgbClr val="BA0C2F"/>
                </a:solidFill>
                <a:latin typeface="Gill Sans MT" panose="020B0502020104020203" pitchFamily="34" charset="0"/>
              </a:rPr>
              <a:t>USAID GLOBAL HEALTH SUPPLY CHAIN PROGRAM</a:t>
            </a:r>
            <a:r>
              <a:rPr lang="en-US" sz="784" b="0" dirty="0">
                <a:solidFill>
                  <a:srgbClr val="6C6463"/>
                </a:solidFill>
                <a:latin typeface="Gill Sans MT" panose="020B0502020104020203" pitchFamily="34" charset="0"/>
              </a:rPr>
              <a:t>-Procurement and Supply Management</a:t>
            </a:r>
          </a:p>
        </p:txBody>
      </p:sp>
    </p:spTree>
    <p:custDataLst>
      <p:tags r:id="rId23"/>
    </p:custDataLst>
    <p:extLst>
      <p:ext uri="{BB962C8B-B14F-4D97-AF65-F5344CB8AC3E}">
        <p14:creationId xmlns:p14="http://schemas.microsoft.com/office/powerpoint/2010/main" val="359848898"/>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705" r:id="rId19"/>
    <p:sldLayoutId id="2147483706" r:id="rId20"/>
  </p:sldLayoutIdLst>
  <p:hf hdr="0" ftr="0" dt="0"/>
  <p:txStyles>
    <p:titleStyle>
      <a:lvl1pPr algn="l" defTabSz="896112" rtl="0" eaLnBrk="1" latinLnBrk="0" hangingPunct="1">
        <a:lnSpc>
          <a:spcPct val="90000"/>
        </a:lnSpc>
        <a:spcBef>
          <a:spcPct val="0"/>
        </a:spcBef>
        <a:buNone/>
        <a:defRPr sz="2352" kern="1200">
          <a:solidFill>
            <a:srgbClr val="BA0C2F"/>
          </a:solidFill>
          <a:latin typeface="Gill Sans MT" panose="020B0502020104020203" pitchFamily="34" charset="0"/>
          <a:ea typeface="+mj-ea"/>
          <a:cs typeface="+mj-cs"/>
        </a:defRPr>
      </a:lvl1pPr>
    </p:titleStyle>
    <p:bodyStyle>
      <a:lvl1pPr marL="224028" indent="-224028" algn="l" defTabSz="896112" rtl="0" eaLnBrk="1" latinLnBrk="0" hangingPunct="1">
        <a:lnSpc>
          <a:spcPct val="100000"/>
        </a:lnSpc>
        <a:spcBef>
          <a:spcPts val="1176"/>
        </a:spcBef>
        <a:buClr>
          <a:srgbClr val="6C6463"/>
        </a:buClr>
        <a:buFont typeface="Arial" panose="020B0604020202020204" pitchFamily="34" charset="0"/>
        <a:buChar char="•"/>
        <a:defRPr sz="2744" kern="1200">
          <a:solidFill>
            <a:srgbClr val="6C6463"/>
          </a:solidFill>
          <a:latin typeface="Gill Sans MT" panose="020B0502020104020203" pitchFamily="34" charset="0"/>
          <a:ea typeface="+mn-ea"/>
          <a:cs typeface="+mn-cs"/>
        </a:defRPr>
      </a:lvl1pPr>
      <a:lvl2pPr marL="672084" indent="-224028" algn="l" defTabSz="896112" rtl="0" eaLnBrk="1" latinLnBrk="0" hangingPunct="1">
        <a:lnSpc>
          <a:spcPct val="100000"/>
        </a:lnSpc>
        <a:spcBef>
          <a:spcPts val="294"/>
        </a:spcBef>
        <a:buClr>
          <a:srgbClr val="6C6463"/>
        </a:buClr>
        <a:buFont typeface="Courier New" panose="02070309020205020404" pitchFamily="49" charset="0"/>
        <a:buChar char="o"/>
        <a:defRPr sz="2352" kern="1200">
          <a:solidFill>
            <a:schemeClr val="accent6"/>
          </a:solidFill>
          <a:latin typeface="Gill Sans MT" panose="020B0502020104020203" pitchFamily="34" charset="0"/>
          <a:ea typeface="+mn-ea"/>
          <a:cs typeface="+mn-cs"/>
        </a:defRPr>
      </a:lvl2pPr>
      <a:lvl3pPr marL="1120140" indent="-224028" algn="l" defTabSz="896112" rtl="0" eaLnBrk="1" latinLnBrk="0" hangingPunct="1">
        <a:lnSpc>
          <a:spcPct val="100000"/>
        </a:lnSpc>
        <a:spcBef>
          <a:spcPts val="294"/>
        </a:spcBef>
        <a:buClr>
          <a:srgbClr val="6C6463"/>
        </a:buClr>
        <a:buFont typeface="Gill Sans MT" panose="020B0502020104020203" pitchFamily="34" charset="0"/>
        <a:buChar char="–"/>
        <a:defRPr sz="1960" kern="1200">
          <a:solidFill>
            <a:schemeClr val="accent6"/>
          </a:solidFill>
          <a:latin typeface="Gill Sans MT" panose="020B0502020104020203" pitchFamily="34" charset="0"/>
          <a:ea typeface="+mn-ea"/>
          <a:cs typeface="+mn-cs"/>
        </a:defRPr>
      </a:lvl3pPr>
      <a:lvl4pPr marL="1568196" indent="-224028" algn="l" defTabSz="896112" rtl="0" eaLnBrk="1" latinLnBrk="0" hangingPunct="1">
        <a:lnSpc>
          <a:spcPct val="100000"/>
        </a:lnSpc>
        <a:spcBef>
          <a:spcPts val="294"/>
        </a:spcBef>
        <a:buClr>
          <a:srgbClr val="6C6463"/>
        </a:buClr>
        <a:buFont typeface="Arial" panose="020B0604020202020204" pitchFamily="34" charset="0"/>
        <a:buChar char="•"/>
        <a:defRPr sz="1764" kern="1200">
          <a:solidFill>
            <a:schemeClr val="accent6"/>
          </a:solidFill>
          <a:latin typeface="Gill Sans MT" panose="020B0502020104020203" pitchFamily="34" charset="0"/>
          <a:ea typeface="+mn-ea"/>
          <a:cs typeface="+mn-cs"/>
        </a:defRPr>
      </a:lvl4pPr>
      <a:lvl5pPr marL="2016252" indent="-224028" algn="l" defTabSz="896112" rtl="0" eaLnBrk="1" latinLnBrk="0" hangingPunct="1">
        <a:lnSpc>
          <a:spcPct val="100000"/>
        </a:lnSpc>
        <a:spcBef>
          <a:spcPts val="294"/>
        </a:spcBef>
        <a:buClr>
          <a:srgbClr val="6C6463"/>
        </a:buClr>
        <a:buFont typeface="Arial" panose="020B0604020202020204" pitchFamily="34" charset="0"/>
        <a:buChar char="•"/>
        <a:defRPr sz="1764" kern="1200">
          <a:solidFill>
            <a:srgbClr val="6C6463"/>
          </a:solidFill>
          <a:latin typeface="Gill Sans MT" panose="020B0502020104020203" pitchFamily="34" charset="0"/>
          <a:ea typeface="+mn-ea"/>
          <a:cs typeface="+mn-cs"/>
        </a:defRPr>
      </a:lvl5pPr>
      <a:lvl6pPr marL="2464308" indent="-224028" algn="l" defTabSz="896112" rtl="0" eaLnBrk="1" latinLnBrk="0" hangingPunct="1">
        <a:lnSpc>
          <a:spcPct val="100000"/>
        </a:lnSpc>
        <a:spcBef>
          <a:spcPts val="294"/>
        </a:spcBef>
        <a:buClr>
          <a:srgbClr val="6C6463"/>
        </a:buClr>
        <a:buFont typeface="Arial" panose="020B0604020202020204" pitchFamily="34" charset="0"/>
        <a:buChar char="•"/>
        <a:defRPr sz="1764" kern="1200">
          <a:solidFill>
            <a:srgbClr val="6C6463"/>
          </a:solidFill>
          <a:latin typeface="Gill Sans MT" panose="020B0502020104020203" pitchFamily="34" charset="0"/>
          <a:ea typeface="+mn-ea"/>
          <a:cs typeface="+mn-cs"/>
        </a:defRPr>
      </a:lvl6pPr>
      <a:lvl7pPr marL="2912364" indent="-224028" algn="l" defTabSz="896112" rtl="0" eaLnBrk="1" latinLnBrk="0" hangingPunct="1">
        <a:lnSpc>
          <a:spcPct val="100000"/>
        </a:lnSpc>
        <a:spcBef>
          <a:spcPts val="294"/>
        </a:spcBef>
        <a:buClr>
          <a:srgbClr val="6C6463"/>
        </a:buClr>
        <a:buFont typeface="Arial" panose="020B0604020202020204" pitchFamily="34" charset="0"/>
        <a:buChar char="•"/>
        <a:defRPr sz="1764" kern="1200">
          <a:solidFill>
            <a:srgbClr val="6C6463"/>
          </a:solidFill>
          <a:latin typeface="Gill Sans MT" panose="020B0502020104020203" pitchFamily="34" charset="0"/>
          <a:ea typeface="+mn-ea"/>
          <a:cs typeface="+mn-cs"/>
        </a:defRPr>
      </a:lvl7pPr>
      <a:lvl8pPr marL="3360420" indent="-224028" algn="l" defTabSz="896112" rtl="0" eaLnBrk="1" latinLnBrk="0" hangingPunct="1">
        <a:lnSpc>
          <a:spcPct val="100000"/>
        </a:lnSpc>
        <a:spcBef>
          <a:spcPts val="294"/>
        </a:spcBef>
        <a:buClr>
          <a:srgbClr val="6C6463"/>
        </a:buClr>
        <a:buFont typeface="Arial" panose="020B0604020202020204" pitchFamily="34" charset="0"/>
        <a:buChar char="•"/>
        <a:defRPr sz="1764" kern="1200">
          <a:solidFill>
            <a:srgbClr val="6C6463"/>
          </a:solidFill>
          <a:latin typeface="Gill Sans MT" panose="020B0502020104020203" pitchFamily="34" charset="0"/>
          <a:ea typeface="+mn-ea"/>
          <a:cs typeface="+mn-cs"/>
        </a:defRPr>
      </a:lvl8pPr>
      <a:lvl9pPr marL="3808476" indent="-224028" algn="l" defTabSz="896112" rtl="0" eaLnBrk="1" latinLnBrk="0" hangingPunct="1">
        <a:lnSpc>
          <a:spcPct val="90000"/>
        </a:lnSpc>
        <a:spcBef>
          <a:spcPts val="490"/>
        </a:spcBef>
        <a:buFont typeface="Arial" panose="020B0604020202020204" pitchFamily="34" charset="0"/>
        <a:buChar char="•"/>
        <a:defRPr sz="1764" kern="1200">
          <a:solidFill>
            <a:schemeClr val="tx1"/>
          </a:solidFill>
          <a:latin typeface="+mn-lt"/>
          <a:ea typeface="+mn-ea"/>
          <a:cs typeface="+mn-cs"/>
        </a:defRPr>
      </a:lvl9pPr>
    </p:bodyStyle>
    <p:otherStyle>
      <a:defPPr>
        <a:defRPr lang="en-US"/>
      </a:defPPr>
      <a:lvl1pPr marL="0" algn="l" defTabSz="896112" rtl="0" eaLnBrk="1" latinLnBrk="0" hangingPunct="1">
        <a:defRPr sz="1764" kern="1200">
          <a:solidFill>
            <a:schemeClr val="tx1"/>
          </a:solidFill>
          <a:latin typeface="+mn-lt"/>
          <a:ea typeface="+mn-ea"/>
          <a:cs typeface="+mn-cs"/>
        </a:defRPr>
      </a:lvl1pPr>
      <a:lvl2pPr marL="448056" algn="l" defTabSz="896112" rtl="0" eaLnBrk="1" latinLnBrk="0" hangingPunct="1">
        <a:defRPr sz="1764" kern="1200">
          <a:solidFill>
            <a:schemeClr val="tx1"/>
          </a:solidFill>
          <a:latin typeface="+mn-lt"/>
          <a:ea typeface="+mn-ea"/>
          <a:cs typeface="+mn-cs"/>
        </a:defRPr>
      </a:lvl2pPr>
      <a:lvl3pPr marL="896112" algn="l" defTabSz="896112" rtl="0" eaLnBrk="1" latinLnBrk="0" hangingPunct="1">
        <a:defRPr sz="1764" kern="1200">
          <a:solidFill>
            <a:schemeClr val="tx1"/>
          </a:solidFill>
          <a:latin typeface="+mn-lt"/>
          <a:ea typeface="+mn-ea"/>
          <a:cs typeface="+mn-cs"/>
        </a:defRPr>
      </a:lvl3pPr>
      <a:lvl4pPr marL="1344168" algn="l" defTabSz="896112" rtl="0" eaLnBrk="1" latinLnBrk="0" hangingPunct="1">
        <a:defRPr sz="1764" kern="1200">
          <a:solidFill>
            <a:schemeClr val="tx1"/>
          </a:solidFill>
          <a:latin typeface="+mn-lt"/>
          <a:ea typeface="+mn-ea"/>
          <a:cs typeface="+mn-cs"/>
        </a:defRPr>
      </a:lvl4pPr>
      <a:lvl5pPr marL="1792224" algn="l" defTabSz="896112" rtl="0" eaLnBrk="1" latinLnBrk="0" hangingPunct="1">
        <a:defRPr sz="1764" kern="1200">
          <a:solidFill>
            <a:schemeClr val="tx1"/>
          </a:solidFill>
          <a:latin typeface="+mn-lt"/>
          <a:ea typeface="+mn-ea"/>
          <a:cs typeface="+mn-cs"/>
        </a:defRPr>
      </a:lvl5pPr>
      <a:lvl6pPr marL="2240280" algn="l" defTabSz="896112" rtl="0" eaLnBrk="1" latinLnBrk="0" hangingPunct="1">
        <a:defRPr sz="1764" kern="1200">
          <a:solidFill>
            <a:schemeClr val="tx1"/>
          </a:solidFill>
          <a:latin typeface="+mn-lt"/>
          <a:ea typeface="+mn-ea"/>
          <a:cs typeface="+mn-cs"/>
        </a:defRPr>
      </a:lvl6pPr>
      <a:lvl7pPr marL="2688336" algn="l" defTabSz="896112" rtl="0" eaLnBrk="1" latinLnBrk="0" hangingPunct="1">
        <a:defRPr sz="1764" kern="1200">
          <a:solidFill>
            <a:schemeClr val="tx1"/>
          </a:solidFill>
          <a:latin typeface="+mn-lt"/>
          <a:ea typeface="+mn-ea"/>
          <a:cs typeface="+mn-cs"/>
        </a:defRPr>
      </a:lvl7pPr>
      <a:lvl8pPr marL="3136392" algn="l" defTabSz="896112" rtl="0" eaLnBrk="1" latinLnBrk="0" hangingPunct="1">
        <a:defRPr sz="1764" kern="1200">
          <a:solidFill>
            <a:schemeClr val="tx1"/>
          </a:solidFill>
          <a:latin typeface="+mn-lt"/>
          <a:ea typeface="+mn-ea"/>
          <a:cs typeface="+mn-cs"/>
        </a:defRPr>
      </a:lvl8pPr>
      <a:lvl9pPr marL="3584448" algn="l" defTabSz="896112" rtl="0" eaLnBrk="1" latinLnBrk="0" hangingPunct="1">
        <a:defRPr sz="176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70.xml"/><Relationship Id="rId7" Type="http://schemas.openxmlformats.org/officeDocument/2006/relationships/oleObject" Target="../embeddings/oleObject8.bin"/><Relationship Id="rId2" Type="http://schemas.openxmlformats.org/officeDocument/2006/relationships/tags" Target="../tags/tag69.xml"/><Relationship Id="rId1" Type="http://schemas.openxmlformats.org/officeDocument/2006/relationships/vmlDrawing" Target="../drawings/vmlDrawing8.vml"/><Relationship Id="rId6" Type="http://schemas.openxmlformats.org/officeDocument/2006/relationships/notesSlide" Target="../notesSlides/notesSlide1.xml"/><Relationship Id="rId5" Type="http://schemas.openxmlformats.org/officeDocument/2006/relationships/slideLayout" Target="../slideLayouts/slideLayout2.xml"/><Relationship Id="rId4" Type="http://schemas.openxmlformats.org/officeDocument/2006/relationships/tags" Target="../tags/tag71.xml"/><Relationship Id="rId9"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907653421"/>
              </p:ext>
            </p:extLst>
          </p:nvPr>
        </p:nvGraphicFramePr>
        <p:xfrm>
          <a:off x="2119" y="1986"/>
          <a:ext cx="1587" cy="1587"/>
        </p:xfrm>
        <a:graphic>
          <a:graphicData uri="http://schemas.openxmlformats.org/presentationml/2006/ole">
            <mc:AlternateContent xmlns:mc="http://schemas.openxmlformats.org/markup-compatibility/2006">
              <mc:Choice xmlns:v="urn:schemas-microsoft-com:vml" Requires="v">
                <p:oleObj spid="_x0000_s207949" name="think-cell Slide" r:id="rId7" imgW="353" imgH="353" progId="TCLayout.ActiveDocument.1">
                  <p:embed/>
                </p:oleObj>
              </mc:Choice>
              <mc:Fallback>
                <p:oleObj name="think-cell Slide" r:id="rId7" imgW="353" imgH="353" progId="TCLayout.ActiveDocument.1">
                  <p:embed/>
                  <p:pic>
                    <p:nvPicPr>
                      <p:cNvPr id="8" name="Object 7" hidden="1"/>
                      <p:cNvPicPr/>
                      <p:nvPr/>
                    </p:nvPicPr>
                    <p:blipFill>
                      <a:blip r:embed="rId8"/>
                      <a:stretch>
                        <a:fillRect/>
                      </a:stretch>
                    </p:blipFill>
                    <p:spPr>
                      <a:xfrm>
                        <a:off x="2119" y="1986"/>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C2EED01-31CD-4121-980E-9E8722DD2FCF}"/>
              </a:ext>
            </a:extLst>
          </p:cNvPr>
          <p:cNvSpPr/>
          <p:nvPr>
            <p:custDataLst>
              <p:tags r:id="rId3"/>
            </p:custDataLst>
          </p:nvPr>
        </p:nvSpPr>
        <p:spPr>
          <a:xfrm>
            <a:off x="265" y="397"/>
            <a:ext cx="155572" cy="1555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s-EC" sz="1960" dirty="0">
              <a:latin typeface="Gill Sans MT" panose="020B0502020104020203" pitchFamily="34" charset="0"/>
              <a:ea typeface="+mj-ea"/>
              <a:cs typeface="Calibri" panose="020F0502020204030204" pitchFamily="34" charset="0"/>
              <a:sym typeface="Gill Sans MT" panose="020B0502020104020203" pitchFamily="34" charset="0"/>
            </a:endParaRPr>
          </a:p>
        </p:txBody>
      </p:sp>
      <p:sp>
        <p:nvSpPr>
          <p:cNvPr id="157" name="Freeform 160">
            <a:extLst>
              <a:ext uri="{FF2B5EF4-FFF2-40B4-BE49-F238E27FC236}">
                <a16:creationId xmlns:a16="http://schemas.microsoft.com/office/drawing/2014/main" id="{FAE2D815-0844-4ADD-ABD2-679832640570}"/>
              </a:ext>
            </a:extLst>
          </p:cNvPr>
          <p:cNvSpPr/>
          <p:nvPr/>
        </p:nvSpPr>
        <p:spPr>
          <a:xfrm>
            <a:off x="265" y="584194"/>
            <a:ext cx="8811561" cy="1329164"/>
          </a:xfrm>
          <a:custGeom>
            <a:avLst/>
            <a:gdLst>
              <a:gd name="connsiteX0" fmla="*/ 0 w 8812081"/>
              <a:gd name="connsiteY0" fmla="*/ 0 h 804406"/>
              <a:gd name="connsiteX1" fmla="*/ 8612701 w 8812081"/>
              <a:gd name="connsiteY1" fmla="*/ 0 h 804406"/>
              <a:gd name="connsiteX2" fmla="*/ 8812081 w 8812081"/>
              <a:gd name="connsiteY2" fmla="*/ 199380 h 804406"/>
              <a:gd name="connsiteX3" fmla="*/ 8812081 w 8812081"/>
              <a:gd name="connsiteY3" fmla="*/ 605026 h 804406"/>
              <a:gd name="connsiteX4" fmla="*/ 8612701 w 8812081"/>
              <a:gd name="connsiteY4" fmla="*/ 804406 h 804406"/>
              <a:gd name="connsiteX5" fmla="*/ 0 w 8812081"/>
              <a:gd name="connsiteY5" fmla="*/ 804406 h 804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812081" h="804406">
                <a:moveTo>
                  <a:pt x="0" y="0"/>
                </a:moveTo>
                <a:lnTo>
                  <a:pt x="8612701" y="0"/>
                </a:lnTo>
                <a:cubicBezTo>
                  <a:pt x="8722816" y="0"/>
                  <a:pt x="8812081" y="89265"/>
                  <a:pt x="8812081" y="199380"/>
                </a:cubicBezTo>
                <a:lnTo>
                  <a:pt x="8812081" y="605026"/>
                </a:lnTo>
                <a:cubicBezTo>
                  <a:pt x="8812081" y="715141"/>
                  <a:pt x="8722816" y="804406"/>
                  <a:pt x="8612701" y="804406"/>
                </a:cubicBezTo>
                <a:lnTo>
                  <a:pt x="0" y="804406"/>
                </a:lnTo>
                <a:close/>
              </a:path>
            </a:pathLst>
          </a:cu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 name="Title 1"/>
          <p:cNvSpPr>
            <a:spLocks noGrp="1"/>
          </p:cNvSpPr>
          <p:nvPr>
            <p:ph type="title"/>
          </p:nvPr>
        </p:nvSpPr>
        <p:spPr bwMode="auto">
          <a:xfrm>
            <a:off x="149358" y="230188"/>
            <a:ext cx="8662723" cy="3016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a:solidFill>
                  <a:schemeClr val="tx2"/>
                </a:solidFill>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t" anchorCtr="0">
            <a:spAutoFit/>
          </a:bodyPr>
          <a:lstStyle/>
          <a:p>
            <a:r>
              <a:rPr lang="en-US" dirty="0"/>
              <a:t>Hoja de </a:t>
            </a:r>
            <a:r>
              <a:rPr lang="en-US" dirty="0" err="1"/>
              <a:t>referencia</a:t>
            </a:r>
            <a:r>
              <a:rPr lang="en-US" dirty="0"/>
              <a:t> </a:t>
            </a:r>
            <a:r>
              <a:rPr lang="es-EC" dirty="0">
                <a:cs typeface="Calibri" panose="020F0502020204030204" pitchFamily="34" charset="0"/>
              </a:rPr>
              <a:t>médica de la cadena de suministros de </a:t>
            </a:r>
            <a:r>
              <a:rPr lang="en-US" dirty="0"/>
              <a:t>COVID-19</a:t>
            </a:r>
            <a:endParaRPr lang="en-US" dirty="0">
              <a:latin typeface="+mj-lt"/>
            </a:endParaRPr>
          </a:p>
        </p:txBody>
      </p:sp>
      <p:sp>
        <p:nvSpPr>
          <p:cNvPr id="165" name="TextBox 164"/>
          <p:cNvSpPr txBox="1"/>
          <p:nvPr/>
        </p:nvSpPr>
        <p:spPr>
          <a:xfrm>
            <a:off x="145169" y="2141397"/>
            <a:ext cx="4252828" cy="246221"/>
          </a:xfrm>
          <a:prstGeom prst="rect">
            <a:avLst/>
          </a:prstGeom>
        </p:spPr>
        <p:txBody>
          <a:bodyPr vert="horz" wrap="square" lIns="0" tIns="0" rIns="0" bIns="0" rtlCol="0" anchor="t" anchorCtr="0">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pPr marL="189782" lvl="1" indent="-188226" defTabSz="877350" fontAlgn="auto">
              <a:spcBef>
                <a:spcPts val="0"/>
              </a:spcBef>
              <a:spcAft>
                <a:spcPts val="0"/>
              </a:spcAft>
              <a:buClr>
                <a:srgbClr val="002F6C"/>
              </a:buClr>
            </a:pPr>
            <a:r>
              <a:rPr lang="es-ES" sz="800" dirty="0">
                <a:solidFill>
                  <a:prstClr val="black"/>
                </a:solidFill>
                <a:latin typeface="Gill Sans MT" panose="020B0502020104020203" pitchFamily="34" charset="0"/>
              </a:rPr>
              <a:t>El personal de la cadena de suministros debería seguir los protocolos PPE si están ingresando a zonas rojas de tratamiento o entrando en contacto con casos sospechosos</a:t>
            </a:r>
            <a:endParaRPr lang="en-US" sz="800" dirty="0">
              <a:solidFill>
                <a:srgbClr val="FF0000"/>
              </a:solidFill>
              <a:latin typeface="Gill Sans MT" panose="020B0502020104020203" pitchFamily="34" charset="0"/>
            </a:endParaRPr>
          </a:p>
        </p:txBody>
      </p:sp>
      <p:sp>
        <p:nvSpPr>
          <p:cNvPr id="166" name="TextBox 165"/>
          <p:cNvSpPr txBox="1"/>
          <p:nvPr/>
        </p:nvSpPr>
        <p:spPr>
          <a:xfrm>
            <a:off x="4558743" y="2141397"/>
            <a:ext cx="4252828" cy="123111"/>
          </a:xfrm>
          <a:prstGeom prst="rect">
            <a:avLst/>
          </a:prstGeom>
        </p:spPr>
        <p:txBody>
          <a:bodyPr vert="horz" wrap="square" lIns="0" tIns="0" rIns="0" bIns="0" rtlCol="0" anchor="t" anchorCtr="0">
            <a:spAutoFit/>
          </a:bodyPr>
          <a:lstStyle>
            <a:lvl1pPr marL="0" lvl="0" indent="0" defTabSz="895255" eaLnBrk="1" latinLnBrk="0" hangingPunct="1">
              <a:buClr>
                <a:schemeClr val="tx2"/>
              </a:buClr>
              <a:buSzPct val="100000"/>
              <a:defRPr lang="x-none" sz="1568" baseline="0">
                <a:latin typeface="+mn-lt"/>
              </a:defRPr>
            </a:lvl1pPr>
            <a:lvl2pPr marL="193655" lvl="1" indent="-192067" defTabSz="895255" eaLnBrk="1" latinLnBrk="0" hangingPunct="1">
              <a:buClr>
                <a:schemeClr val="tx2"/>
              </a:buClr>
              <a:buSzPct val="125000"/>
              <a:buFont typeface="Arial" charset="0"/>
              <a:buChar char="▪"/>
              <a:defRPr lang="x-none" sz="1568" baseline="0">
                <a:latin typeface="+mn-lt"/>
              </a:defRPr>
            </a:lvl2pPr>
            <a:lvl3pPr marL="457151" lvl="2" indent="-261910" defTabSz="895255" eaLnBrk="1" latinLnBrk="0" hangingPunct="1">
              <a:buClr>
                <a:schemeClr val="tx2"/>
              </a:buClr>
              <a:buSzPct val="120000"/>
              <a:buFont typeface="Arial" charset="0"/>
              <a:buChar char="–"/>
              <a:defRPr lang="x-none" sz="1568" baseline="0">
                <a:latin typeface="+mn-lt"/>
              </a:defRPr>
            </a:lvl3pPr>
            <a:lvl4pPr marL="614298" lvl="3" indent="-155558" defTabSz="895255" eaLnBrk="1" latinLnBrk="0" hangingPunct="1">
              <a:buClr>
                <a:schemeClr val="tx2"/>
              </a:buClr>
              <a:buSzPct val="120000"/>
              <a:buFont typeface="Arial" charset="0"/>
              <a:buChar char="▫"/>
              <a:defRPr lang="x-none" sz="1568" baseline="0">
                <a:latin typeface="+mn-lt"/>
              </a:defRPr>
            </a:lvl4pPr>
            <a:lvl5pPr marL="749728" lvl="4" indent="-130162" defTabSz="895255" eaLnBrk="1" latinLnBrk="0" hangingPunct="1">
              <a:buClr>
                <a:schemeClr val="tx2"/>
              </a:buClr>
              <a:buSzPct val="89000"/>
              <a:buFont typeface="Arial" charset="0"/>
              <a:buChar char="-"/>
              <a:defRPr lang="x-none" sz="1568" baseline="0">
                <a:latin typeface="+mn-lt"/>
              </a:defRPr>
            </a:lvl5pPr>
            <a:lvl6pPr marL="749728" indent="-130162" defTabSz="895255" fontAlgn="base">
              <a:spcBef>
                <a:spcPct val="0"/>
              </a:spcBef>
              <a:spcAft>
                <a:spcPct val="0"/>
              </a:spcAft>
              <a:buClr>
                <a:schemeClr val="tx2"/>
              </a:buClr>
              <a:buSzPct val="89000"/>
              <a:buFont typeface="Arial" charset="0"/>
              <a:buChar char="-"/>
              <a:defRPr lang="x-none" sz="1599" baseline="0">
                <a:latin typeface="+mn-lt"/>
              </a:defRPr>
            </a:lvl6pPr>
            <a:lvl7pPr marL="749728" indent="-130162" defTabSz="895255" fontAlgn="base">
              <a:spcBef>
                <a:spcPct val="0"/>
              </a:spcBef>
              <a:spcAft>
                <a:spcPct val="0"/>
              </a:spcAft>
              <a:buClr>
                <a:schemeClr val="tx2"/>
              </a:buClr>
              <a:buSzPct val="89000"/>
              <a:buFont typeface="Arial" charset="0"/>
              <a:buChar char="-"/>
              <a:defRPr lang="x-none" sz="1599" baseline="0">
                <a:latin typeface="+mn-lt"/>
              </a:defRPr>
            </a:lvl7pPr>
            <a:lvl8pPr marL="749728" indent="-130162" defTabSz="895255" fontAlgn="base">
              <a:spcBef>
                <a:spcPct val="0"/>
              </a:spcBef>
              <a:spcAft>
                <a:spcPct val="0"/>
              </a:spcAft>
              <a:buClr>
                <a:schemeClr val="tx2"/>
              </a:buClr>
              <a:buSzPct val="89000"/>
              <a:buFont typeface="Arial" charset="0"/>
              <a:buChar char="-"/>
              <a:defRPr lang="x-none" sz="1599" baseline="0">
                <a:latin typeface="+mn-lt"/>
              </a:defRPr>
            </a:lvl8pPr>
            <a:lvl9pPr marL="749728" indent="-130162" defTabSz="895255" fontAlgn="base">
              <a:spcBef>
                <a:spcPct val="0"/>
              </a:spcBef>
              <a:spcAft>
                <a:spcPct val="0"/>
              </a:spcAft>
              <a:buClr>
                <a:schemeClr val="tx2"/>
              </a:buClr>
              <a:buSzPct val="89000"/>
              <a:buFont typeface="Arial" charset="0"/>
              <a:buChar char="-"/>
              <a:defRPr lang="x-none" sz="1599" baseline="0">
                <a:latin typeface="+mn-lt"/>
              </a:defRPr>
            </a:lvl9pPr>
          </a:lstStyle>
          <a:p>
            <a:pPr lvl="1"/>
            <a:r>
              <a:rPr lang="es-EC" sz="800" dirty="0">
                <a:latin typeface="Gill Sans MT" panose="020B0502020104020203" pitchFamily="34" charset="0"/>
                <a:cs typeface="Calibri" panose="020F0502020204030204" pitchFamily="34" charset="0"/>
                <a:sym typeface="Gill Sans MT" panose="020B0502020104020203" pitchFamily="34" charset="0"/>
              </a:rPr>
              <a:t>Se recomienda el soporte respiratorio para pacientes con dificultades respiratorias severas</a:t>
            </a:r>
          </a:p>
        </p:txBody>
      </p:sp>
      <p:sp>
        <p:nvSpPr>
          <p:cNvPr id="158" name="TextBox 157">
            <a:extLst>
              <a:ext uri="{FF2B5EF4-FFF2-40B4-BE49-F238E27FC236}">
                <a16:creationId xmlns:a16="http://schemas.microsoft.com/office/drawing/2014/main" id="{2C1DFF45-E9EA-436A-8E6C-E99969511BDA}"/>
              </a:ext>
            </a:extLst>
          </p:cNvPr>
          <p:cNvSpPr txBox="1">
            <a:spLocks/>
          </p:cNvSpPr>
          <p:nvPr/>
        </p:nvSpPr>
        <p:spPr>
          <a:xfrm>
            <a:off x="1552928" y="621545"/>
            <a:ext cx="7222701" cy="938719"/>
          </a:xfrm>
          <a:prstGeom prst="rect">
            <a:avLst/>
          </a:prstGeom>
        </p:spPr>
        <p:txBody>
          <a:bodyPr vert="horz" wrap="square" lIns="0" tIns="0" rIns="0" bIns="0" rtlCol="0">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pPr defTabSz="895246" fontAlgn="auto">
              <a:spcBef>
                <a:spcPts val="0"/>
              </a:spcBef>
              <a:spcAft>
                <a:spcPts val="0"/>
              </a:spcAft>
              <a:buClr>
                <a:srgbClr val="FFFFFF"/>
              </a:buClr>
            </a:pPr>
            <a:r>
              <a:rPr lang="es-EC" sz="800" b="1" dirty="0">
                <a:solidFill>
                  <a:schemeClr val="bg1"/>
                </a:solidFill>
                <a:latin typeface="Gill Sans MT" panose="020B0502020104020203" pitchFamily="34" charset="0"/>
                <a:cs typeface="Calibri" panose="020F0502020204030204" pitchFamily="34" charset="0"/>
                <a:sym typeface="Gill Sans MT" panose="020B0502020104020203" pitchFamily="34" charset="0"/>
              </a:rPr>
              <a:t>Descripción </a:t>
            </a:r>
            <a:r>
              <a:rPr lang="en-US" sz="800" b="1" dirty="0">
                <a:solidFill>
                  <a:schemeClr val="bg1"/>
                </a:solidFill>
                <a:latin typeface="Gill Sans MT" panose="020B0502020104020203" pitchFamily="34" charset="0"/>
              </a:rPr>
              <a:t>: </a:t>
            </a:r>
            <a:r>
              <a:rPr lang="es-ES" sz="800" dirty="0">
                <a:solidFill>
                  <a:schemeClr val="bg1"/>
                </a:solidFill>
                <a:latin typeface="Gill Sans MT" panose="020B0502020104020203" pitchFamily="34" charset="0"/>
              </a:rPr>
              <a:t>La presentación clínica para los casos reportados de COVID-19 varía en severidad entre infección asintomática o enfermedad leve hasta enfermedad grave o mortal. Algunos informes sugieren el potencial de deterioro clínico durante la segunda semana de enfermedad. El síndrome de dificultad respiratoria aguda (SDRA) se presentó en el 17-29% de los pacientes hospitalizados, y la infección secundaria se presentó en el 10%. Entre los pacientes hospitalizados con neumonía, la proporción de casos fatales se ha informado como 4–15%. En este momento no está disponible ningún tratamiento específico para COVID-19.</a:t>
            </a:r>
          </a:p>
          <a:p>
            <a:pPr defTabSz="895246" fontAlgn="auto">
              <a:spcBef>
                <a:spcPts val="600"/>
              </a:spcBef>
              <a:spcAft>
                <a:spcPts val="600"/>
              </a:spcAft>
              <a:buClr>
                <a:srgbClr val="FFFFFF"/>
              </a:buClr>
            </a:pPr>
            <a:r>
              <a:rPr lang="en-GB" sz="800" dirty="0">
                <a:solidFill>
                  <a:schemeClr val="bg1"/>
                </a:solidFill>
                <a:latin typeface="Gill Sans MT" panose="020B0502020104020203" pitchFamily="34" charset="0"/>
              </a:rPr>
              <a:t>COVID-19 es una </a:t>
            </a:r>
            <a:r>
              <a:rPr lang="en-GB" sz="800" dirty="0" err="1">
                <a:solidFill>
                  <a:schemeClr val="bg1"/>
                </a:solidFill>
                <a:latin typeface="Gill Sans MT" panose="020B0502020104020203" pitchFamily="34" charset="0"/>
              </a:rPr>
              <a:t>enfermedad</a:t>
            </a:r>
            <a:r>
              <a:rPr lang="en-GB" sz="800" dirty="0">
                <a:solidFill>
                  <a:schemeClr val="bg1"/>
                </a:solidFill>
                <a:latin typeface="Gill Sans MT" panose="020B0502020104020203" pitchFamily="34" charset="0"/>
              </a:rPr>
              <a:t> </a:t>
            </a:r>
            <a:r>
              <a:rPr lang="en-GB" sz="800" dirty="0" err="1">
                <a:solidFill>
                  <a:schemeClr val="bg1"/>
                </a:solidFill>
                <a:latin typeface="Gill Sans MT" panose="020B0502020104020203" pitchFamily="34" charset="0"/>
              </a:rPr>
              <a:t>causada</a:t>
            </a:r>
            <a:r>
              <a:rPr lang="en-GB" sz="800" dirty="0">
                <a:solidFill>
                  <a:schemeClr val="bg1"/>
                </a:solidFill>
                <a:latin typeface="Gill Sans MT" panose="020B0502020104020203" pitchFamily="34" charset="0"/>
              </a:rPr>
              <a:t> por una </a:t>
            </a:r>
            <a:r>
              <a:rPr lang="en-GB" sz="800" dirty="0" err="1">
                <a:solidFill>
                  <a:schemeClr val="bg1"/>
                </a:solidFill>
                <a:latin typeface="Gill Sans MT" panose="020B0502020104020203" pitchFamily="34" charset="0"/>
              </a:rPr>
              <a:t>infección</a:t>
            </a:r>
            <a:r>
              <a:rPr lang="en-GB" sz="800" dirty="0">
                <a:solidFill>
                  <a:schemeClr val="bg1"/>
                </a:solidFill>
                <a:latin typeface="Gill Sans MT" panose="020B0502020104020203" pitchFamily="34" charset="0"/>
              </a:rPr>
              <a:t> con el virus SARS-</a:t>
            </a:r>
            <a:r>
              <a:rPr lang="en-GB" sz="800" dirty="0" err="1">
                <a:solidFill>
                  <a:schemeClr val="bg1"/>
                </a:solidFill>
                <a:latin typeface="Gill Sans MT" panose="020B0502020104020203" pitchFamily="34" charset="0"/>
              </a:rPr>
              <a:t>CoV</a:t>
            </a:r>
            <a:r>
              <a:rPr lang="en-GB" sz="800" dirty="0">
                <a:solidFill>
                  <a:schemeClr val="bg1"/>
                </a:solidFill>
                <a:latin typeface="Gill Sans MT" panose="020B0502020104020203" pitchFamily="34" charset="0"/>
              </a:rPr>
              <a:t>, que es un </a:t>
            </a:r>
            <a:r>
              <a:rPr lang="en-GB" sz="800" dirty="0" err="1">
                <a:solidFill>
                  <a:schemeClr val="bg1"/>
                </a:solidFill>
                <a:latin typeface="Gill Sans MT" panose="020B0502020104020203" pitchFamily="34" charset="0"/>
              </a:rPr>
              <a:t>betacoronavirus</a:t>
            </a:r>
            <a:r>
              <a:rPr lang="en-GB" sz="800" dirty="0">
                <a:solidFill>
                  <a:schemeClr val="bg1"/>
                </a:solidFill>
                <a:latin typeface="Gill Sans MT" panose="020B0502020104020203" pitchFamily="34" charset="0"/>
              </a:rPr>
              <a:t>, </a:t>
            </a:r>
            <a:r>
              <a:rPr lang="en-GB" sz="800" dirty="0" err="1">
                <a:solidFill>
                  <a:schemeClr val="bg1"/>
                </a:solidFill>
                <a:latin typeface="Gill Sans MT" panose="020B0502020104020203" pitchFamily="34" charset="0"/>
              </a:rPr>
              <a:t>como</a:t>
            </a:r>
            <a:r>
              <a:rPr lang="en-GB" sz="800" dirty="0">
                <a:solidFill>
                  <a:schemeClr val="bg1"/>
                </a:solidFill>
                <a:latin typeface="Gill Sans MT" panose="020B0502020104020203" pitchFamily="34" charset="0"/>
              </a:rPr>
              <a:t> MERS-</a:t>
            </a:r>
            <a:r>
              <a:rPr lang="en-GB" sz="800" dirty="0" err="1">
                <a:solidFill>
                  <a:schemeClr val="bg1"/>
                </a:solidFill>
                <a:latin typeface="Gill Sans MT" panose="020B0502020104020203" pitchFamily="34" charset="0"/>
              </a:rPr>
              <a:t>CoV</a:t>
            </a:r>
            <a:r>
              <a:rPr lang="en-GB" sz="800" dirty="0">
                <a:solidFill>
                  <a:schemeClr val="bg1"/>
                </a:solidFill>
                <a:latin typeface="Gill Sans MT" panose="020B0502020104020203" pitchFamily="34" charset="0"/>
              </a:rPr>
              <a:t> y SARS-</a:t>
            </a:r>
            <a:r>
              <a:rPr lang="en-GB" sz="800" dirty="0" err="1">
                <a:solidFill>
                  <a:schemeClr val="bg1"/>
                </a:solidFill>
                <a:latin typeface="Gill Sans MT" panose="020B0502020104020203" pitchFamily="34" charset="0"/>
              </a:rPr>
              <a:t>CoV</a:t>
            </a:r>
            <a:r>
              <a:rPr lang="en-GB" sz="800" dirty="0">
                <a:solidFill>
                  <a:schemeClr val="bg1"/>
                </a:solidFill>
                <a:latin typeface="Gill Sans MT" panose="020B0502020104020203" pitchFamily="34" charset="0"/>
              </a:rPr>
              <a:t>. Los </a:t>
            </a:r>
            <a:r>
              <a:rPr lang="en-GB" sz="800" dirty="0" err="1">
                <a:solidFill>
                  <a:schemeClr val="bg1"/>
                </a:solidFill>
                <a:latin typeface="Gill Sans MT" panose="020B0502020104020203" pitchFamily="34" charset="0"/>
              </a:rPr>
              <a:t>signos</a:t>
            </a:r>
            <a:r>
              <a:rPr lang="en-GB" sz="800" dirty="0">
                <a:solidFill>
                  <a:schemeClr val="bg1"/>
                </a:solidFill>
                <a:latin typeface="Gill Sans MT" panose="020B0502020104020203" pitchFamily="34" charset="0"/>
              </a:rPr>
              <a:t> y </a:t>
            </a:r>
            <a:r>
              <a:rPr lang="en-GB" sz="800" dirty="0" err="1">
                <a:solidFill>
                  <a:schemeClr val="bg1"/>
                </a:solidFill>
                <a:latin typeface="Gill Sans MT" panose="020B0502020104020203" pitchFamily="34" charset="0"/>
              </a:rPr>
              <a:t>síntomas</a:t>
            </a:r>
            <a:r>
              <a:rPr lang="en-GB" sz="800" dirty="0">
                <a:solidFill>
                  <a:schemeClr val="bg1"/>
                </a:solidFill>
                <a:latin typeface="Gill Sans MT" panose="020B0502020104020203" pitchFamily="34" charset="0"/>
              </a:rPr>
              <a:t> que se </a:t>
            </a:r>
            <a:r>
              <a:rPr lang="en-GB" sz="800" dirty="0" err="1">
                <a:solidFill>
                  <a:schemeClr val="bg1"/>
                </a:solidFill>
                <a:latin typeface="Gill Sans MT" panose="020B0502020104020203" pitchFamily="34" charset="0"/>
              </a:rPr>
              <a:t>informan</a:t>
            </a:r>
            <a:r>
              <a:rPr lang="en-GB" sz="800" dirty="0">
                <a:solidFill>
                  <a:schemeClr val="bg1"/>
                </a:solidFill>
                <a:latin typeface="Gill Sans MT" panose="020B0502020104020203" pitchFamily="34" charset="0"/>
              </a:rPr>
              <a:t> con mayor </a:t>
            </a:r>
            <a:r>
              <a:rPr lang="en-GB" sz="800" dirty="0" err="1">
                <a:solidFill>
                  <a:schemeClr val="bg1"/>
                </a:solidFill>
                <a:latin typeface="Gill Sans MT" panose="020B0502020104020203" pitchFamily="34" charset="0"/>
              </a:rPr>
              <a:t>frecuencia</a:t>
            </a:r>
            <a:r>
              <a:rPr lang="en-GB" sz="800" dirty="0">
                <a:solidFill>
                  <a:schemeClr val="bg1"/>
                </a:solidFill>
                <a:latin typeface="Gill Sans MT" panose="020B0502020104020203" pitchFamily="34" charset="0"/>
              </a:rPr>
              <a:t> </a:t>
            </a:r>
            <a:r>
              <a:rPr lang="en-GB" sz="800" dirty="0" err="1">
                <a:solidFill>
                  <a:schemeClr val="bg1"/>
                </a:solidFill>
                <a:latin typeface="Gill Sans MT" panose="020B0502020104020203" pitchFamily="34" charset="0"/>
              </a:rPr>
              <a:t>incluyen</a:t>
            </a:r>
            <a:r>
              <a:rPr lang="en-GB" sz="800" dirty="0">
                <a:solidFill>
                  <a:schemeClr val="bg1"/>
                </a:solidFill>
                <a:latin typeface="Gill Sans MT" panose="020B0502020104020203" pitchFamily="34" charset="0"/>
              </a:rPr>
              <a:t> </a:t>
            </a:r>
            <a:r>
              <a:rPr lang="en-GB" sz="800" dirty="0" err="1">
                <a:solidFill>
                  <a:schemeClr val="bg1"/>
                </a:solidFill>
                <a:latin typeface="Gill Sans MT" panose="020B0502020104020203" pitchFamily="34" charset="0"/>
              </a:rPr>
              <a:t>fiebre</a:t>
            </a:r>
            <a:r>
              <a:rPr lang="en-GB" sz="800" dirty="0">
                <a:solidFill>
                  <a:schemeClr val="bg1"/>
                </a:solidFill>
                <a:latin typeface="Gill Sans MT" panose="020B0502020104020203" pitchFamily="34" charset="0"/>
              </a:rPr>
              <a:t>, </a:t>
            </a:r>
            <a:r>
              <a:rPr lang="en-GB" sz="800" dirty="0" err="1">
                <a:solidFill>
                  <a:schemeClr val="bg1"/>
                </a:solidFill>
                <a:latin typeface="Gill Sans MT" panose="020B0502020104020203" pitchFamily="34" charset="0"/>
              </a:rPr>
              <a:t>tos</a:t>
            </a:r>
            <a:r>
              <a:rPr lang="en-GB" sz="800" dirty="0">
                <a:solidFill>
                  <a:schemeClr val="bg1"/>
                </a:solidFill>
                <a:latin typeface="Gill Sans MT" panose="020B0502020104020203" pitchFamily="34" charset="0"/>
              </a:rPr>
              <a:t>, </a:t>
            </a:r>
            <a:r>
              <a:rPr lang="en-GB" sz="800" dirty="0" err="1">
                <a:solidFill>
                  <a:schemeClr val="bg1"/>
                </a:solidFill>
                <a:latin typeface="Gill Sans MT" panose="020B0502020104020203" pitchFamily="34" charset="0"/>
              </a:rPr>
              <a:t>mialgia</a:t>
            </a:r>
            <a:r>
              <a:rPr lang="en-GB" sz="800" dirty="0">
                <a:solidFill>
                  <a:schemeClr val="bg1"/>
                </a:solidFill>
                <a:latin typeface="Gill Sans MT" panose="020B0502020104020203" pitchFamily="34" charset="0"/>
              </a:rPr>
              <a:t> o </a:t>
            </a:r>
            <a:r>
              <a:rPr lang="en-GB" sz="800" dirty="0" err="1">
                <a:solidFill>
                  <a:schemeClr val="bg1"/>
                </a:solidFill>
                <a:latin typeface="Gill Sans MT" panose="020B0502020104020203" pitchFamily="34" charset="0"/>
              </a:rPr>
              <a:t>fatiga</a:t>
            </a:r>
            <a:r>
              <a:rPr lang="en-GB" sz="800" dirty="0">
                <a:solidFill>
                  <a:schemeClr val="bg1"/>
                </a:solidFill>
                <a:latin typeface="Gill Sans MT" panose="020B0502020104020203" pitchFamily="34" charset="0"/>
              </a:rPr>
              <a:t>, y </a:t>
            </a:r>
            <a:r>
              <a:rPr lang="en-GB" sz="800" dirty="0" err="1">
                <a:solidFill>
                  <a:schemeClr val="bg1"/>
                </a:solidFill>
                <a:latin typeface="Gill Sans MT" panose="020B0502020104020203" pitchFamily="34" charset="0"/>
              </a:rPr>
              <a:t>falta</a:t>
            </a:r>
            <a:r>
              <a:rPr lang="en-GB" sz="800" dirty="0">
                <a:solidFill>
                  <a:schemeClr val="bg1"/>
                </a:solidFill>
                <a:latin typeface="Gill Sans MT" panose="020B0502020104020203" pitchFamily="34" charset="0"/>
              </a:rPr>
              <a:t> de </a:t>
            </a:r>
            <a:r>
              <a:rPr lang="en-GB" sz="800" dirty="0" err="1">
                <a:solidFill>
                  <a:schemeClr val="bg1"/>
                </a:solidFill>
                <a:latin typeface="Gill Sans MT" panose="020B0502020104020203" pitchFamily="34" charset="0"/>
              </a:rPr>
              <a:t>aliento</a:t>
            </a:r>
            <a:r>
              <a:rPr lang="en-GB" sz="800" dirty="0">
                <a:solidFill>
                  <a:schemeClr val="bg1"/>
                </a:solidFill>
                <a:latin typeface="Gill Sans MT" panose="020B0502020104020203" pitchFamily="34" charset="0"/>
              </a:rPr>
              <a:t> al </a:t>
            </a:r>
            <a:r>
              <a:rPr lang="en-GB" sz="800" dirty="0" err="1">
                <a:solidFill>
                  <a:schemeClr val="bg1"/>
                </a:solidFill>
                <a:latin typeface="Gill Sans MT" panose="020B0502020104020203" pitchFamily="34" charset="0"/>
              </a:rPr>
              <a:t>inicio</a:t>
            </a:r>
            <a:r>
              <a:rPr lang="en-GB" sz="800" dirty="0">
                <a:solidFill>
                  <a:schemeClr val="bg1"/>
                </a:solidFill>
                <a:latin typeface="Gill Sans MT" panose="020B0502020104020203" pitchFamily="34" charset="0"/>
              </a:rPr>
              <a:t> de la </a:t>
            </a:r>
            <a:r>
              <a:rPr lang="en-GB" sz="800" dirty="0" err="1">
                <a:solidFill>
                  <a:schemeClr val="bg1"/>
                </a:solidFill>
                <a:latin typeface="Gill Sans MT" panose="020B0502020104020203" pitchFamily="34" charset="0"/>
              </a:rPr>
              <a:t>enfermedad</a:t>
            </a:r>
            <a:r>
              <a:rPr lang="en-GB" sz="800" dirty="0">
                <a:solidFill>
                  <a:schemeClr val="bg1"/>
                </a:solidFill>
                <a:latin typeface="Gill Sans MT" panose="020B0502020104020203" pitchFamily="34" charset="0"/>
              </a:rPr>
              <a:t>. </a:t>
            </a:r>
            <a:r>
              <a:rPr lang="es-ES" sz="800" dirty="0">
                <a:solidFill>
                  <a:schemeClr val="bg1"/>
                </a:solidFill>
                <a:latin typeface="Gill Sans MT" panose="020B0502020104020203" pitchFamily="34" charset="0"/>
              </a:rPr>
              <a:t>Los datos de otras </a:t>
            </a:r>
            <a:r>
              <a:rPr lang="es-ES" sz="800" dirty="0" err="1">
                <a:solidFill>
                  <a:schemeClr val="bg1"/>
                </a:solidFill>
                <a:latin typeface="Gill Sans MT" panose="020B0502020104020203" pitchFamily="34" charset="0"/>
              </a:rPr>
              <a:t>infecciónes</a:t>
            </a:r>
            <a:r>
              <a:rPr lang="es-ES" sz="800" dirty="0">
                <a:solidFill>
                  <a:schemeClr val="bg1"/>
                </a:solidFill>
                <a:latin typeface="Gill Sans MT" panose="020B0502020104020203" pitchFamily="34" charset="0"/>
              </a:rPr>
              <a:t> humanas con coronavirus (por ejemplo, MERS-</a:t>
            </a:r>
            <a:r>
              <a:rPr lang="es-ES" sz="800" dirty="0" err="1">
                <a:solidFill>
                  <a:schemeClr val="bg1"/>
                </a:solidFill>
                <a:latin typeface="Gill Sans MT" panose="020B0502020104020203" pitchFamily="34" charset="0"/>
              </a:rPr>
              <a:t>CoV</a:t>
            </a:r>
            <a:r>
              <a:rPr lang="es-ES" sz="800" dirty="0">
                <a:solidFill>
                  <a:schemeClr val="bg1"/>
                </a:solidFill>
                <a:latin typeface="Gill Sans MT" panose="020B0502020104020203" pitchFamily="34" charset="0"/>
              </a:rPr>
              <a:t>, SARS-</a:t>
            </a:r>
            <a:r>
              <a:rPr lang="es-ES" sz="800" dirty="0" err="1">
                <a:solidFill>
                  <a:schemeClr val="bg1"/>
                </a:solidFill>
                <a:latin typeface="Gill Sans MT" panose="020B0502020104020203" pitchFamily="34" charset="0"/>
              </a:rPr>
              <a:t>CoV</a:t>
            </a:r>
            <a:r>
              <a:rPr lang="es-ES" sz="800" dirty="0">
                <a:solidFill>
                  <a:schemeClr val="bg1"/>
                </a:solidFill>
                <a:latin typeface="Gill Sans MT" panose="020B0502020104020203" pitchFamily="34" charset="0"/>
              </a:rPr>
              <a:t>) sugieren que el período de incubación puede variar de 2 a 14 días.</a:t>
            </a:r>
            <a:endParaRPr lang="en-US" sz="800" dirty="0">
              <a:solidFill>
                <a:schemeClr val="accent4"/>
              </a:solidFill>
              <a:highlight>
                <a:srgbClr val="FFFF00"/>
              </a:highlight>
              <a:latin typeface="Gill Sans MT" panose="020B0502020104020203" pitchFamily="34" charset="0"/>
            </a:endParaRPr>
          </a:p>
        </p:txBody>
      </p:sp>
      <p:cxnSp>
        <p:nvCxnSpPr>
          <p:cNvPr id="162" name="Straight Connector 161">
            <a:extLst>
              <a:ext uri="{FF2B5EF4-FFF2-40B4-BE49-F238E27FC236}">
                <a16:creationId xmlns:a16="http://schemas.microsoft.com/office/drawing/2014/main" id="{6E1CC0BA-F96C-4E1F-B85A-44C57E8FC980}"/>
              </a:ext>
            </a:extLst>
          </p:cNvPr>
          <p:cNvCxnSpPr>
            <a:cxnSpLocks/>
          </p:cNvCxnSpPr>
          <p:nvPr/>
        </p:nvCxnSpPr>
        <p:spPr>
          <a:xfrm>
            <a:off x="149615" y="1808556"/>
            <a:ext cx="131637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34F41967-3A6B-475E-B67F-28E29B801A85}"/>
              </a:ext>
            </a:extLst>
          </p:cNvPr>
          <p:cNvCxnSpPr>
            <a:cxnSpLocks/>
          </p:cNvCxnSpPr>
          <p:nvPr/>
        </p:nvCxnSpPr>
        <p:spPr>
          <a:xfrm>
            <a:off x="149615" y="676973"/>
            <a:ext cx="131637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49" name="TextBox 148"/>
          <p:cNvSpPr txBox="1">
            <a:spLocks/>
          </p:cNvSpPr>
          <p:nvPr/>
        </p:nvSpPr>
        <p:spPr>
          <a:xfrm>
            <a:off x="1552929" y="1627958"/>
            <a:ext cx="7082409" cy="233910"/>
          </a:xfrm>
          <a:prstGeom prst="rect">
            <a:avLst/>
          </a:prstGeom>
        </p:spPr>
        <p:txBody>
          <a:bodyPr vert="horz" wrap="square" lIns="0" tIns="0" rIns="0" bIns="0" rtlCol="0">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pPr defTabSz="895246" fontAlgn="auto">
              <a:lnSpc>
                <a:spcPct val="95000"/>
              </a:lnSpc>
              <a:spcBef>
                <a:spcPct val="20000"/>
              </a:spcBef>
              <a:spcAft>
                <a:spcPts val="0"/>
              </a:spcAft>
              <a:buClr>
                <a:srgbClr val="FFFFFF"/>
              </a:buClr>
            </a:pPr>
            <a:r>
              <a:rPr lang="es-EC" sz="800" b="1" dirty="0">
                <a:solidFill>
                  <a:schemeClr val="bg1"/>
                </a:solidFill>
                <a:latin typeface="Gill Sans MT" panose="020B0502020104020203" pitchFamily="34" charset="0"/>
                <a:cs typeface="Calibri" panose="020F0502020204030204" pitchFamily="34" charset="0"/>
                <a:sym typeface="Gill Sans MT" panose="020B0502020104020203" pitchFamily="34" charset="0"/>
              </a:rPr>
              <a:t>Modo de transmisión</a:t>
            </a:r>
            <a:r>
              <a:rPr lang="en-US" sz="800" b="1" dirty="0">
                <a:solidFill>
                  <a:schemeClr val="bg1"/>
                </a:solidFill>
                <a:latin typeface="Gill Sans MT" panose="020B0502020104020203" pitchFamily="34" charset="0"/>
              </a:rPr>
              <a:t>: </a:t>
            </a:r>
            <a:r>
              <a:rPr lang="es-ES" sz="800" dirty="0">
                <a:solidFill>
                  <a:schemeClr val="bg1"/>
                </a:solidFill>
                <a:latin typeface="Gill Sans MT" panose="020B0502020104020203" pitchFamily="34" charset="0"/>
              </a:rPr>
              <a:t>Según la información actual, se supone que COVID-19 es transmitida a través de gotas respiratorias. Transmisión por aire o por la vía fecal-oral es probable, pero no se conoce la significación clínica en el contexto de un brote. </a:t>
            </a:r>
            <a:endParaRPr lang="en-GB" sz="800" dirty="0">
              <a:solidFill>
                <a:schemeClr val="accent4"/>
              </a:solidFill>
              <a:highlight>
                <a:srgbClr val="FFFF00"/>
              </a:highlight>
              <a:latin typeface="Gill Sans MT" panose="020B0502020104020203" pitchFamily="34" charset="0"/>
            </a:endParaRPr>
          </a:p>
        </p:txBody>
      </p:sp>
      <p:sp>
        <p:nvSpPr>
          <p:cNvPr id="208" name="TextBox 207">
            <a:extLst>
              <a:ext uri="{FF2B5EF4-FFF2-40B4-BE49-F238E27FC236}">
                <a16:creationId xmlns:a16="http://schemas.microsoft.com/office/drawing/2014/main" id="{685D6CCB-33C1-4C26-8EBC-D134595D42AF}"/>
              </a:ext>
            </a:extLst>
          </p:cNvPr>
          <p:cNvSpPr txBox="1">
            <a:spLocks/>
          </p:cNvSpPr>
          <p:nvPr/>
        </p:nvSpPr>
        <p:spPr>
          <a:xfrm>
            <a:off x="113419" y="1960530"/>
            <a:ext cx="8662211" cy="160044"/>
          </a:xfrm>
          <a:prstGeom prst="rect">
            <a:avLst/>
          </a:prstGeom>
          <a:noFill/>
          <a:ln>
            <a:noFill/>
          </a:ln>
        </p:spPr>
        <p:txBody>
          <a:bodyPr vert="horz" wrap="square" lIns="18288" tIns="18288" rIns="18288" bIns="18288" rtlCol="0" anchor="ctr" anchorCtr="0">
            <a:spAutoFit/>
          </a:bodyPr>
          <a:lstStyle>
            <a:defPPr>
              <a:defRPr lang="en-US"/>
            </a:defPPr>
            <a:lvl1pPr marL="0" lvl="0" indent="0" defTabSz="685137" eaLnBrk="1" fontAlgn="auto" latinLnBrk="0" hangingPunct="1">
              <a:spcBef>
                <a:spcPts val="0"/>
              </a:spcBef>
              <a:spcAft>
                <a:spcPts val="0"/>
              </a:spcAft>
              <a:buClr>
                <a:srgbClr val="000000"/>
              </a:buClr>
              <a:buSzPct val="100000"/>
              <a:defRPr sz="800" b="1" kern="0" baseline="0">
                <a:solidFill>
                  <a:schemeClr val="accent2"/>
                </a:solidFill>
                <a:latin typeface="+mj-lt"/>
              </a:defRPr>
            </a:lvl1pPr>
            <a:lvl2pPr marL="192018" lvl="1" indent="-192018" defTabSz="913516" eaLnBrk="1" latinLnBrk="0" hangingPunct="1">
              <a:buClr>
                <a:schemeClr val="tx2"/>
              </a:buClr>
              <a:buSzPct val="125000"/>
              <a:buFont typeface="Arial" charset="0"/>
              <a:buChar char="▪"/>
              <a:defRPr baseline="0">
                <a:latin typeface="+mn-lt"/>
              </a:defRPr>
            </a:lvl2pPr>
            <a:lvl3pPr marL="457187" lvl="2" indent="-265168" defTabSz="913516" eaLnBrk="1" latinLnBrk="0" hangingPunct="1">
              <a:buClr>
                <a:schemeClr val="tx2"/>
              </a:buClr>
              <a:buSzPct val="120000"/>
              <a:buFont typeface="Arial" charset="0"/>
              <a:buChar char="–"/>
              <a:defRPr baseline="0">
                <a:latin typeface="+mn-lt"/>
              </a:defRPr>
            </a:lvl3pPr>
            <a:lvl4pPr marL="626828" lvl="3" indent="-155444" defTabSz="913516" eaLnBrk="1" latinLnBrk="0" hangingPunct="1">
              <a:buClr>
                <a:schemeClr val="tx2"/>
              </a:buClr>
              <a:buSzPct val="120000"/>
              <a:buFont typeface="Arial" charset="0"/>
              <a:buChar char="▫"/>
              <a:defRPr baseline="0">
                <a:latin typeface="+mn-lt"/>
              </a:defRPr>
            </a:lvl4pPr>
            <a:lvl5pPr marL="749786" lvl="4" indent="-128013" defTabSz="913516" eaLnBrk="1" latinLnBrk="0" hangingPunct="1">
              <a:buClr>
                <a:schemeClr val="tx2"/>
              </a:buClr>
              <a:buSzPct val="89000"/>
              <a:buFont typeface="Arial" charset="0"/>
              <a:buChar char="-"/>
              <a:defRPr baseline="0">
                <a:latin typeface="+mn-lt"/>
              </a:defRPr>
            </a:lvl5pPr>
            <a:lvl6pPr marL="765021" indent="-132817" defTabSz="913516" fontAlgn="base">
              <a:spcBef>
                <a:spcPct val="0"/>
              </a:spcBef>
              <a:spcAft>
                <a:spcPct val="0"/>
              </a:spcAft>
              <a:buClr>
                <a:schemeClr val="tx2"/>
              </a:buClr>
              <a:buSzPct val="89000"/>
              <a:buFont typeface="Arial" charset="0"/>
              <a:buChar char="-"/>
              <a:defRPr sz="1632" baseline="0">
                <a:latin typeface="+mn-lt"/>
              </a:defRPr>
            </a:lvl6pPr>
            <a:lvl7pPr marL="765021" indent="-132817" defTabSz="913516" fontAlgn="base">
              <a:spcBef>
                <a:spcPct val="0"/>
              </a:spcBef>
              <a:spcAft>
                <a:spcPct val="0"/>
              </a:spcAft>
              <a:buClr>
                <a:schemeClr val="tx2"/>
              </a:buClr>
              <a:buSzPct val="89000"/>
              <a:buFont typeface="Arial" charset="0"/>
              <a:buChar char="-"/>
              <a:defRPr sz="1632" baseline="0">
                <a:latin typeface="+mn-lt"/>
              </a:defRPr>
            </a:lvl7pPr>
            <a:lvl8pPr marL="765021" indent="-132817" defTabSz="913516" fontAlgn="base">
              <a:spcBef>
                <a:spcPct val="0"/>
              </a:spcBef>
              <a:spcAft>
                <a:spcPct val="0"/>
              </a:spcAft>
              <a:buClr>
                <a:schemeClr val="tx2"/>
              </a:buClr>
              <a:buSzPct val="89000"/>
              <a:buFont typeface="Arial" charset="0"/>
              <a:buChar char="-"/>
              <a:defRPr sz="1632" baseline="0">
                <a:latin typeface="+mn-lt"/>
              </a:defRPr>
            </a:lvl8pPr>
            <a:lvl9pPr marL="765021" indent="-132817" defTabSz="913516" fontAlgn="base">
              <a:spcBef>
                <a:spcPct val="0"/>
              </a:spcBef>
              <a:spcAft>
                <a:spcPct val="0"/>
              </a:spcAft>
              <a:buClr>
                <a:schemeClr val="tx2"/>
              </a:buClr>
              <a:buSzPct val="89000"/>
              <a:buFont typeface="Arial" charset="0"/>
              <a:buChar char="-"/>
              <a:defRPr sz="1632" baseline="0">
                <a:latin typeface="+mn-lt"/>
              </a:defRPr>
            </a:lvl9pPr>
          </a:lstStyle>
          <a:p>
            <a:pPr>
              <a:defRPr/>
            </a:pPr>
            <a:r>
              <a:rPr lang="es-ES" dirty="0">
                <a:solidFill>
                  <a:schemeClr val="tx2"/>
                </a:solidFill>
                <a:latin typeface="Gill Sans MT" panose="020B0502020104020203" pitchFamily="34" charset="0"/>
              </a:rPr>
              <a:t>CONSIDERACIONES DE LA CADENA DE SUMINISTROS</a:t>
            </a:r>
          </a:p>
        </p:txBody>
      </p:sp>
      <p:sp>
        <p:nvSpPr>
          <p:cNvPr id="159" name="TextBox 158">
            <a:extLst>
              <a:ext uri="{FF2B5EF4-FFF2-40B4-BE49-F238E27FC236}">
                <a16:creationId xmlns:a16="http://schemas.microsoft.com/office/drawing/2014/main" id="{0856E5C3-3E4C-44E9-A4E9-0657078F8036}"/>
              </a:ext>
            </a:extLst>
          </p:cNvPr>
          <p:cNvSpPr txBox="1">
            <a:spLocks/>
          </p:cNvSpPr>
          <p:nvPr/>
        </p:nvSpPr>
        <p:spPr>
          <a:xfrm>
            <a:off x="149615" y="1569950"/>
            <a:ext cx="1316370" cy="12311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defTabSz="877443" fontAlgn="auto">
              <a:spcBef>
                <a:spcPts val="0"/>
              </a:spcBef>
              <a:spcAft>
                <a:spcPts val="0"/>
              </a:spcAft>
              <a:buClr>
                <a:srgbClr val="002F6C"/>
              </a:buClr>
              <a:defRPr/>
            </a:pPr>
            <a:r>
              <a:rPr lang="en-US" sz="800" b="1" dirty="0">
                <a:solidFill>
                  <a:schemeClr val="bg1"/>
                </a:solidFill>
                <a:latin typeface="Gill Sans MT" panose="020B0502020104020203" pitchFamily="34" charset="0"/>
              </a:rPr>
              <a:t>COVID-19</a:t>
            </a:r>
          </a:p>
        </p:txBody>
      </p:sp>
      <p:sp>
        <p:nvSpPr>
          <p:cNvPr id="209" name="TextBox 208">
            <a:extLst>
              <a:ext uri="{FF2B5EF4-FFF2-40B4-BE49-F238E27FC236}">
                <a16:creationId xmlns:a16="http://schemas.microsoft.com/office/drawing/2014/main" id="{A8D8FC34-DE88-4E6A-8F89-001CAC151937}"/>
              </a:ext>
            </a:extLst>
          </p:cNvPr>
          <p:cNvSpPr txBox="1">
            <a:spLocks/>
          </p:cNvSpPr>
          <p:nvPr/>
        </p:nvSpPr>
        <p:spPr>
          <a:xfrm>
            <a:off x="113419" y="2413783"/>
            <a:ext cx="8662211" cy="160044"/>
          </a:xfrm>
          <a:prstGeom prst="rect">
            <a:avLst/>
          </a:prstGeom>
          <a:noFill/>
          <a:ln>
            <a:noFill/>
          </a:ln>
        </p:spPr>
        <p:txBody>
          <a:bodyPr vert="horz" wrap="square" lIns="18288" tIns="18288" rIns="18288" bIns="18288" rtlCol="0" anchor="ctr" anchorCtr="0">
            <a:spAutoFit/>
          </a:bodyPr>
          <a:lstStyle>
            <a:defPPr>
              <a:defRPr lang="en-US"/>
            </a:defPPr>
            <a:lvl1pPr marL="0" lvl="0" indent="0" defTabSz="685064" eaLnBrk="1" fontAlgn="auto" latinLnBrk="0" hangingPunct="1">
              <a:spcBef>
                <a:spcPts val="0"/>
              </a:spcBef>
              <a:spcAft>
                <a:spcPts val="0"/>
              </a:spcAft>
              <a:buClr>
                <a:srgbClr val="000000"/>
              </a:buClr>
              <a:buSzPct val="100000"/>
              <a:defRPr sz="700" kern="0" baseline="0">
                <a:solidFill>
                  <a:srgbClr val="0067B9"/>
                </a:solidFill>
                <a:latin typeface="Gill Sans MT"/>
              </a:defRPr>
            </a:lvl1pPr>
            <a:lvl2pPr marL="192018" lvl="1" indent="-192018" defTabSz="913516" eaLnBrk="1" latinLnBrk="0" hangingPunct="1">
              <a:buClr>
                <a:schemeClr val="tx2"/>
              </a:buClr>
              <a:buSzPct val="125000"/>
              <a:buFont typeface="Arial" charset="0"/>
              <a:buChar char="▪"/>
              <a:defRPr sz="1600" baseline="0">
                <a:latin typeface="+mn-lt"/>
              </a:defRPr>
            </a:lvl2pPr>
            <a:lvl3pPr marL="457187" lvl="2" indent="-265168" defTabSz="913516" eaLnBrk="1" latinLnBrk="0" hangingPunct="1">
              <a:buClr>
                <a:schemeClr val="tx2"/>
              </a:buClr>
              <a:buSzPct val="120000"/>
              <a:buFont typeface="Arial" charset="0"/>
              <a:buChar char="–"/>
              <a:defRPr sz="1600" baseline="0">
                <a:latin typeface="+mn-lt"/>
              </a:defRPr>
            </a:lvl3pPr>
            <a:lvl4pPr marL="626828" lvl="3" indent="-155444" defTabSz="913516" eaLnBrk="1" latinLnBrk="0" hangingPunct="1">
              <a:buClr>
                <a:schemeClr val="tx2"/>
              </a:buClr>
              <a:buSzPct val="120000"/>
              <a:buFont typeface="Arial" charset="0"/>
              <a:buChar char="▫"/>
              <a:defRPr sz="1600" baseline="0">
                <a:latin typeface="+mn-lt"/>
              </a:defRPr>
            </a:lvl4pPr>
            <a:lvl5pPr marL="749786" lvl="4" indent="-128013" defTabSz="913516" eaLnBrk="1" latinLnBrk="0" hangingPunct="1">
              <a:buClr>
                <a:schemeClr val="tx2"/>
              </a:buClr>
              <a:buSzPct val="89000"/>
              <a:buFont typeface="Arial" charset="0"/>
              <a:buChar char="-"/>
              <a:defRPr sz="1600" baseline="0">
                <a:latin typeface="+mn-lt"/>
              </a:defRPr>
            </a:lvl5pPr>
            <a:lvl6pPr marL="765021" indent="-132817" defTabSz="913516" fontAlgn="base">
              <a:spcBef>
                <a:spcPct val="0"/>
              </a:spcBef>
              <a:spcAft>
                <a:spcPct val="0"/>
              </a:spcAft>
              <a:buClr>
                <a:schemeClr val="tx2"/>
              </a:buClr>
              <a:buSzPct val="89000"/>
              <a:buFont typeface="Arial" charset="0"/>
              <a:buChar char="-"/>
              <a:defRPr sz="1632" baseline="0">
                <a:latin typeface="+mn-lt"/>
              </a:defRPr>
            </a:lvl6pPr>
            <a:lvl7pPr marL="765021" indent="-132817" defTabSz="913516" fontAlgn="base">
              <a:spcBef>
                <a:spcPct val="0"/>
              </a:spcBef>
              <a:spcAft>
                <a:spcPct val="0"/>
              </a:spcAft>
              <a:buClr>
                <a:schemeClr val="tx2"/>
              </a:buClr>
              <a:buSzPct val="89000"/>
              <a:buFont typeface="Arial" charset="0"/>
              <a:buChar char="-"/>
              <a:defRPr sz="1632" baseline="0">
                <a:latin typeface="+mn-lt"/>
              </a:defRPr>
            </a:lvl7pPr>
            <a:lvl8pPr marL="765021" indent="-132817" defTabSz="913516" fontAlgn="base">
              <a:spcBef>
                <a:spcPct val="0"/>
              </a:spcBef>
              <a:spcAft>
                <a:spcPct val="0"/>
              </a:spcAft>
              <a:buClr>
                <a:schemeClr val="tx2"/>
              </a:buClr>
              <a:buSzPct val="89000"/>
              <a:buFont typeface="Arial" charset="0"/>
              <a:buChar char="-"/>
              <a:defRPr sz="1632" baseline="0">
                <a:latin typeface="+mn-lt"/>
              </a:defRPr>
            </a:lvl8pPr>
            <a:lvl9pPr marL="765021" indent="-132817" defTabSz="913516" fontAlgn="base">
              <a:spcBef>
                <a:spcPct val="0"/>
              </a:spcBef>
              <a:spcAft>
                <a:spcPct val="0"/>
              </a:spcAft>
              <a:buClr>
                <a:schemeClr val="tx2"/>
              </a:buClr>
              <a:buSzPct val="89000"/>
              <a:buFont typeface="Arial" charset="0"/>
              <a:buChar char="-"/>
              <a:defRPr sz="1632" baseline="0">
                <a:latin typeface="+mn-lt"/>
              </a:defRPr>
            </a:lvl9pPr>
          </a:lstStyle>
          <a:p>
            <a:r>
              <a:rPr lang="es-EC" sz="800" b="1" dirty="0">
                <a:solidFill>
                  <a:schemeClr val="accent4"/>
                </a:solidFill>
                <a:latin typeface="Gill Sans MT" panose="020B0502020104020203" pitchFamily="34" charset="0"/>
                <a:cs typeface="Calibri" panose="020F0502020204030204" pitchFamily="34" charset="0"/>
                <a:sym typeface="Gill Sans MT" panose="020B0502020104020203" pitchFamily="34" charset="0"/>
              </a:rPr>
              <a:t>LISTADO DE PRODUCTOS</a:t>
            </a:r>
          </a:p>
        </p:txBody>
      </p:sp>
      <p:sp>
        <p:nvSpPr>
          <p:cNvPr id="193" name="5. Source">
            <a:extLst>
              <a:ext uri="{FF2B5EF4-FFF2-40B4-BE49-F238E27FC236}">
                <a16:creationId xmlns:a16="http://schemas.microsoft.com/office/drawing/2014/main" id="{35ADC9DA-AB9F-4283-A135-D18B7EAA5139}"/>
              </a:ext>
            </a:extLst>
          </p:cNvPr>
          <p:cNvSpPr txBox="1"/>
          <p:nvPr>
            <p:custDataLst>
              <p:tags r:id="rId4"/>
            </p:custDataLst>
          </p:nvPr>
        </p:nvSpPr>
        <p:spPr>
          <a:xfrm>
            <a:off x="73152" y="6141904"/>
            <a:ext cx="8888286" cy="215444"/>
          </a:xfrm>
          <a:prstGeom prst="rect">
            <a:avLst/>
          </a:prstGeom>
          <a:noFill/>
        </p:spPr>
        <p:txBody>
          <a:bodyPr vert="horz" wrap="square" lIns="0" tIns="0" rIns="0" bIns="0" rtlCol="0" anchor="b" anchorCtr="0">
            <a:spAutoFit/>
          </a:bodyPr>
          <a:lstStyle/>
          <a:p>
            <a:pPr defTabSz="895350">
              <a:tabLst>
                <a:tab pos="0" algn="l"/>
              </a:tabLst>
            </a:pPr>
            <a:r>
              <a:rPr lang="en-US" sz="700" dirty="0">
                <a:solidFill>
                  <a:schemeClr val="accent6">
                    <a:lumMod val="50000"/>
                  </a:schemeClr>
                </a:solidFill>
                <a:latin typeface="Gill Sans MT" panose="020B0502020104020203"/>
              </a:rPr>
              <a:t>FUENTE: </a:t>
            </a:r>
            <a:r>
              <a:rPr lang="en-US" sz="700" dirty="0" err="1">
                <a:solidFill>
                  <a:schemeClr val="accent6">
                    <a:lumMod val="50000"/>
                  </a:schemeClr>
                </a:solidFill>
                <a:latin typeface="Gill Sans MT" panose="020B0502020104020203"/>
              </a:rPr>
              <a:t>Adaptado</a:t>
            </a:r>
            <a:r>
              <a:rPr lang="en-US" sz="700" dirty="0">
                <a:solidFill>
                  <a:schemeClr val="accent6">
                    <a:lumMod val="50000"/>
                  </a:schemeClr>
                </a:solidFill>
                <a:latin typeface="Gill Sans MT" panose="020B0502020104020203"/>
              </a:rPr>
              <a:t> de la hoja de </a:t>
            </a:r>
            <a:r>
              <a:rPr lang="en-US" sz="700" dirty="0" err="1">
                <a:solidFill>
                  <a:schemeClr val="accent6">
                    <a:lumMod val="50000"/>
                  </a:schemeClr>
                </a:solidFill>
                <a:latin typeface="Gill Sans MT" panose="020B0502020104020203"/>
              </a:rPr>
              <a:t>referencia</a:t>
            </a:r>
            <a:r>
              <a:rPr lang="en-US" sz="700" dirty="0">
                <a:solidFill>
                  <a:schemeClr val="accent6">
                    <a:lumMod val="50000"/>
                  </a:schemeClr>
                </a:solidFill>
                <a:latin typeface="Gill Sans MT" panose="020B0502020104020203"/>
              </a:rPr>
              <a:t> </a:t>
            </a:r>
            <a:r>
              <a:rPr lang="en-US" sz="700" dirty="0" err="1">
                <a:solidFill>
                  <a:schemeClr val="accent6">
                    <a:lumMod val="50000"/>
                  </a:schemeClr>
                </a:solidFill>
                <a:latin typeface="Gill Sans MT" panose="020B0502020104020203"/>
              </a:rPr>
              <a:t>médica</a:t>
            </a:r>
            <a:r>
              <a:rPr lang="en-US" sz="700" dirty="0">
                <a:solidFill>
                  <a:schemeClr val="accent6">
                    <a:lumMod val="50000"/>
                  </a:schemeClr>
                </a:solidFill>
                <a:latin typeface="Gill Sans MT" panose="020B0502020104020203"/>
              </a:rPr>
              <a:t> de </a:t>
            </a:r>
            <a:r>
              <a:rPr lang="en-US" sz="700" dirty="0" err="1">
                <a:solidFill>
                  <a:schemeClr val="accent6">
                    <a:lumMod val="50000"/>
                  </a:schemeClr>
                </a:solidFill>
                <a:latin typeface="Gill Sans MT" panose="020B0502020104020203"/>
              </a:rPr>
              <a:t>Enfermedades</a:t>
            </a:r>
            <a:r>
              <a:rPr lang="en-US" sz="700" dirty="0">
                <a:solidFill>
                  <a:schemeClr val="accent6">
                    <a:lumMod val="50000"/>
                  </a:schemeClr>
                </a:solidFill>
                <a:latin typeface="Gill Sans MT" panose="020B0502020104020203"/>
              </a:rPr>
              <a:t> de </a:t>
            </a:r>
            <a:r>
              <a:rPr lang="en-US" sz="700" dirty="0" err="1">
                <a:solidFill>
                  <a:schemeClr val="accent6">
                    <a:lumMod val="50000"/>
                  </a:schemeClr>
                </a:solidFill>
                <a:latin typeface="Gill Sans MT" panose="020B0502020104020203"/>
              </a:rPr>
              <a:t>transmisión</a:t>
            </a:r>
            <a:r>
              <a:rPr lang="en-US" sz="700" dirty="0">
                <a:solidFill>
                  <a:schemeClr val="accent6">
                    <a:lumMod val="50000"/>
                  </a:schemeClr>
                </a:solidFill>
                <a:latin typeface="Gill Sans MT" panose="020B0502020104020203"/>
              </a:rPr>
              <a:t> por </a:t>
            </a:r>
            <a:r>
              <a:rPr lang="en-US" sz="700" dirty="0" err="1">
                <a:solidFill>
                  <a:schemeClr val="accent6">
                    <a:lumMod val="50000"/>
                  </a:schemeClr>
                </a:solidFill>
                <a:latin typeface="Gill Sans MT" panose="020B0502020104020203"/>
              </a:rPr>
              <a:t>aire</a:t>
            </a:r>
            <a:r>
              <a:rPr lang="en-US" sz="700" dirty="0">
                <a:solidFill>
                  <a:schemeClr val="accent6">
                    <a:lumMod val="50000"/>
                  </a:schemeClr>
                </a:solidFill>
                <a:latin typeface="Gill Sans MT" panose="020B0502020104020203"/>
              </a:rPr>
              <a:t>/</a:t>
            </a:r>
            <a:r>
              <a:rPr lang="en-US" sz="700" dirty="0" err="1">
                <a:solidFill>
                  <a:schemeClr val="accent6">
                    <a:lumMod val="50000"/>
                  </a:schemeClr>
                </a:solidFill>
                <a:latin typeface="Gill Sans MT" panose="020B0502020104020203"/>
              </a:rPr>
              <a:t>gotas</a:t>
            </a:r>
            <a:r>
              <a:rPr lang="en-US" sz="700" dirty="0">
                <a:solidFill>
                  <a:schemeClr val="accent6">
                    <a:lumMod val="50000"/>
                  </a:schemeClr>
                </a:solidFill>
                <a:latin typeface="Gill Sans MT" panose="020B0502020104020203"/>
              </a:rPr>
              <a:t>, </a:t>
            </a:r>
            <a:r>
              <a:rPr lang="en-US" sz="700" dirty="0" err="1">
                <a:solidFill>
                  <a:schemeClr val="accent6">
                    <a:lumMod val="50000"/>
                  </a:schemeClr>
                </a:solidFill>
                <a:latin typeface="Gill Sans MT" panose="020B0502020104020203"/>
              </a:rPr>
              <a:t>suplementado</a:t>
            </a:r>
            <a:r>
              <a:rPr lang="en-US" sz="700" dirty="0">
                <a:solidFill>
                  <a:schemeClr val="accent6">
                    <a:lumMod val="50000"/>
                  </a:schemeClr>
                </a:solidFill>
                <a:latin typeface="Gill Sans MT" panose="020B0502020104020203"/>
              </a:rPr>
              <a:t> con la </a:t>
            </a:r>
            <a:r>
              <a:rPr lang="en-US" sz="700" dirty="0" err="1">
                <a:solidFill>
                  <a:schemeClr val="accent6">
                    <a:lumMod val="50000"/>
                  </a:schemeClr>
                </a:solidFill>
                <a:latin typeface="Gill Sans MT" panose="020B0502020104020203"/>
              </a:rPr>
              <a:t>información</a:t>
            </a:r>
            <a:r>
              <a:rPr lang="en-US" sz="700" dirty="0">
                <a:solidFill>
                  <a:schemeClr val="accent6">
                    <a:lumMod val="50000"/>
                  </a:schemeClr>
                </a:solidFill>
                <a:latin typeface="Gill Sans MT" panose="020B0502020104020203"/>
              </a:rPr>
              <a:t> </a:t>
            </a:r>
            <a:r>
              <a:rPr lang="en-US" sz="700" dirty="0" err="1">
                <a:solidFill>
                  <a:schemeClr val="accent6">
                    <a:lumMod val="50000"/>
                  </a:schemeClr>
                </a:solidFill>
                <a:latin typeface="Gill Sans MT" panose="020B0502020104020203"/>
              </a:rPr>
              <a:t>contenida</a:t>
            </a:r>
            <a:r>
              <a:rPr lang="en-US" sz="700" dirty="0">
                <a:solidFill>
                  <a:schemeClr val="accent6">
                    <a:lumMod val="50000"/>
                  </a:schemeClr>
                </a:solidFill>
                <a:latin typeface="Gill Sans MT" panose="020B0502020104020203"/>
              </a:rPr>
              <a:t> en el la </a:t>
            </a:r>
            <a:r>
              <a:rPr lang="en-US" sz="700" dirty="0" err="1">
                <a:solidFill>
                  <a:schemeClr val="accent6">
                    <a:lumMod val="50000"/>
                  </a:schemeClr>
                </a:solidFill>
                <a:latin typeface="Gill Sans MT" panose="020B0502020104020203"/>
              </a:rPr>
              <a:t>lista</a:t>
            </a:r>
            <a:r>
              <a:rPr lang="en-US" sz="700" dirty="0">
                <a:solidFill>
                  <a:schemeClr val="accent6">
                    <a:lumMod val="50000"/>
                  </a:schemeClr>
                </a:solidFill>
                <a:latin typeface="Gill Sans MT" panose="020B0502020104020203"/>
              </a:rPr>
              <a:t> de </a:t>
            </a:r>
            <a:r>
              <a:rPr lang="en-US" sz="700" dirty="0" err="1">
                <a:solidFill>
                  <a:schemeClr val="accent6">
                    <a:lumMod val="50000"/>
                  </a:schemeClr>
                </a:solidFill>
                <a:latin typeface="Gill Sans MT" panose="020B0502020104020203"/>
              </a:rPr>
              <a:t>productos</a:t>
            </a:r>
            <a:r>
              <a:rPr lang="en-US" sz="700" dirty="0">
                <a:solidFill>
                  <a:schemeClr val="accent6">
                    <a:lumMod val="50000"/>
                  </a:schemeClr>
                </a:solidFill>
                <a:latin typeface="Gill Sans MT" panose="020B0502020104020203"/>
              </a:rPr>
              <a:t> del WHO (Feb 7 2020), el </a:t>
            </a:r>
            <a:r>
              <a:rPr lang="en-US" sz="700" dirty="0" err="1">
                <a:solidFill>
                  <a:schemeClr val="accent6">
                    <a:lumMod val="50000"/>
                  </a:schemeClr>
                </a:solidFill>
                <a:latin typeface="Gill Sans MT" panose="020B0502020104020203"/>
              </a:rPr>
              <a:t>informe</a:t>
            </a:r>
            <a:r>
              <a:rPr lang="en-US" sz="700" dirty="0">
                <a:solidFill>
                  <a:schemeClr val="accent6">
                    <a:lumMod val="50000"/>
                  </a:schemeClr>
                </a:solidFill>
                <a:latin typeface="Gill Sans MT" panose="020B0502020104020203"/>
              </a:rPr>
              <a:t> del CDC </a:t>
            </a:r>
            <a:r>
              <a:rPr lang="en-US" sz="700" dirty="0" err="1">
                <a:solidFill>
                  <a:schemeClr val="accent6">
                    <a:lumMod val="50000"/>
                  </a:schemeClr>
                </a:solidFill>
                <a:latin typeface="Gill Sans MT" panose="020B0502020104020203"/>
              </a:rPr>
              <a:t>sobre</a:t>
            </a:r>
            <a:r>
              <a:rPr lang="en-US" sz="700" dirty="0">
                <a:solidFill>
                  <a:schemeClr val="accent6">
                    <a:lumMod val="50000"/>
                  </a:schemeClr>
                </a:solidFill>
                <a:latin typeface="Gill Sans MT" panose="020B0502020104020203"/>
              </a:rPr>
              <a:t> el COVID-19 (Feb 27, 2020) y </a:t>
            </a:r>
            <a:r>
              <a:rPr lang="en-US" sz="700" dirty="0" err="1">
                <a:solidFill>
                  <a:schemeClr val="accent6">
                    <a:lumMod val="50000"/>
                  </a:schemeClr>
                </a:solidFill>
                <a:latin typeface="Gill Sans MT" panose="020B0502020104020203"/>
              </a:rPr>
              <a:t>entrevistas</a:t>
            </a:r>
            <a:r>
              <a:rPr lang="en-US" sz="700" dirty="0">
                <a:solidFill>
                  <a:schemeClr val="accent6">
                    <a:lumMod val="50000"/>
                  </a:schemeClr>
                </a:solidFill>
                <a:latin typeface="Gill Sans MT" panose="020B0502020104020203"/>
              </a:rPr>
              <a:t> con </a:t>
            </a:r>
            <a:r>
              <a:rPr lang="en-US" sz="700" dirty="0" err="1">
                <a:solidFill>
                  <a:schemeClr val="accent6">
                    <a:lumMod val="50000"/>
                  </a:schemeClr>
                </a:solidFill>
                <a:latin typeface="Gill Sans MT" panose="020B0502020104020203"/>
              </a:rPr>
              <a:t>expertos</a:t>
            </a:r>
            <a:r>
              <a:rPr lang="en-US" sz="700" dirty="0">
                <a:solidFill>
                  <a:schemeClr val="accent6">
                    <a:lumMod val="50000"/>
                  </a:schemeClr>
                </a:solidFill>
                <a:latin typeface="Gill Sans MT" panose="020B0502020104020203"/>
              </a:rPr>
              <a:t> en la </a:t>
            </a:r>
            <a:r>
              <a:rPr lang="en-US" sz="700" dirty="0" err="1">
                <a:solidFill>
                  <a:schemeClr val="accent6">
                    <a:lumMod val="50000"/>
                  </a:schemeClr>
                </a:solidFill>
                <a:latin typeface="Gill Sans MT" panose="020B0502020104020203"/>
              </a:rPr>
              <a:t>cadena</a:t>
            </a:r>
            <a:r>
              <a:rPr lang="en-US" sz="700" dirty="0">
                <a:solidFill>
                  <a:schemeClr val="accent6">
                    <a:lumMod val="50000"/>
                  </a:schemeClr>
                </a:solidFill>
                <a:latin typeface="Gill Sans MT" panose="020B0502020104020203"/>
              </a:rPr>
              <a:t> de </a:t>
            </a:r>
            <a:r>
              <a:rPr lang="en-US" sz="700" dirty="0" err="1">
                <a:solidFill>
                  <a:schemeClr val="accent6">
                    <a:lumMod val="50000"/>
                  </a:schemeClr>
                </a:solidFill>
                <a:latin typeface="Gill Sans MT" panose="020B0502020104020203"/>
              </a:rPr>
              <a:t>suminitro</a:t>
            </a:r>
            <a:r>
              <a:rPr lang="en-US" sz="700" dirty="0">
                <a:solidFill>
                  <a:schemeClr val="accent6">
                    <a:lumMod val="50000"/>
                  </a:schemeClr>
                </a:solidFill>
                <a:latin typeface="Gill Sans MT" panose="020B0502020104020203"/>
              </a:rPr>
              <a:t> de </a:t>
            </a:r>
            <a:r>
              <a:rPr lang="en-US" sz="700" dirty="0" err="1">
                <a:solidFill>
                  <a:schemeClr val="accent6">
                    <a:lumMod val="50000"/>
                  </a:schemeClr>
                </a:solidFill>
                <a:latin typeface="Gill Sans MT" panose="020B0502020104020203"/>
              </a:rPr>
              <a:t>emergencias</a:t>
            </a:r>
            <a:r>
              <a:rPr lang="en-US" sz="700" dirty="0">
                <a:solidFill>
                  <a:schemeClr val="accent6">
                    <a:lumMod val="50000"/>
                  </a:schemeClr>
                </a:solidFill>
                <a:latin typeface="Gill Sans MT" panose="020B0502020104020203"/>
              </a:rPr>
              <a:t> y </a:t>
            </a:r>
            <a:r>
              <a:rPr lang="en-US" sz="700" dirty="0" err="1">
                <a:solidFill>
                  <a:schemeClr val="accent6">
                    <a:lumMod val="50000"/>
                  </a:schemeClr>
                </a:solidFill>
                <a:latin typeface="Gill Sans MT" panose="020B0502020104020203"/>
              </a:rPr>
              <a:t>enfermedades</a:t>
            </a:r>
            <a:r>
              <a:rPr lang="en-US" sz="700" dirty="0">
                <a:solidFill>
                  <a:schemeClr val="accent6">
                    <a:lumMod val="50000"/>
                  </a:schemeClr>
                </a:solidFill>
                <a:latin typeface="Gill Sans MT" panose="020B0502020104020203"/>
              </a:rPr>
              <a:t> </a:t>
            </a:r>
            <a:r>
              <a:rPr lang="en-US" sz="700" dirty="0" err="1">
                <a:solidFill>
                  <a:schemeClr val="accent6">
                    <a:lumMod val="50000"/>
                  </a:schemeClr>
                </a:solidFill>
                <a:latin typeface="Gill Sans MT" panose="020B0502020104020203"/>
              </a:rPr>
              <a:t>infecciosas</a:t>
            </a:r>
            <a:r>
              <a:rPr lang="en-US" sz="700" dirty="0">
                <a:solidFill>
                  <a:schemeClr val="accent6">
                    <a:lumMod val="50000"/>
                  </a:schemeClr>
                </a:solidFill>
                <a:latin typeface="Gill Sans MT" panose="020B0502020104020203"/>
              </a:rPr>
              <a:t> de McKinsey</a:t>
            </a:r>
          </a:p>
        </p:txBody>
      </p:sp>
      <p:sp>
        <p:nvSpPr>
          <p:cNvPr id="214" name="Rectangle 213">
            <a:extLst>
              <a:ext uri="{FF2B5EF4-FFF2-40B4-BE49-F238E27FC236}">
                <a16:creationId xmlns:a16="http://schemas.microsoft.com/office/drawing/2014/main" id="{49EFAE25-2FA0-412B-956A-F747D12776B8}"/>
              </a:ext>
            </a:extLst>
          </p:cNvPr>
          <p:cNvSpPr>
            <a:spLocks/>
          </p:cNvSpPr>
          <p:nvPr/>
        </p:nvSpPr>
        <p:spPr>
          <a:xfrm>
            <a:off x="6039288" y="2572514"/>
            <a:ext cx="2921885" cy="3564767"/>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a:solidFill>
                <a:schemeClr val="tx2"/>
              </a:solidFill>
              <a:latin typeface="Gill Sans MT" panose="020B0502020104020203" pitchFamily="34" charset="0"/>
            </a:endParaRPr>
          </a:p>
        </p:txBody>
      </p:sp>
      <p:sp>
        <p:nvSpPr>
          <p:cNvPr id="215" name="Rectangle 214">
            <a:extLst>
              <a:ext uri="{FF2B5EF4-FFF2-40B4-BE49-F238E27FC236}">
                <a16:creationId xmlns:a16="http://schemas.microsoft.com/office/drawing/2014/main" id="{FEA84D46-0EAA-4190-87B7-080371163B50}"/>
              </a:ext>
            </a:extLst>
          </p:cNvPr>
          <p:cNvSpPr>
            <a:spLocks/>
          </p:cNvSpPr>
          <p:nvPr/>
        </p:nvSpPr>
        <p:spPr>
          <a:xfrm>
            <a:off x="265" y="2572513"/>
            <a:ext cx="2921885" cy="3564767"/>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a:solidFill>
                <a:schemeClr val="tx2"/>
              </a:solidFill>
              <a:latin typeface="Gill Sans MT" panose="020B0502020104020203" pitchFamily="34" charset="0"/>
            </a:endParaRPr>
          </a:p>
        </p:txBody>
      </p:sp>
      <p:sp>
        <p:nvSpPr>
          <p:cNvPr id="216" name="Rectangle 215">
            <a:extLst>
              <a:ext uri="{FF2B5EF4-FFF2-40B4-BE49-F238E27FC236}">
                <a16:creationId xmlns:a16="http://schemas.microsoft.com/office/drawing/2014/main" id="{54F907B3-1D66-4B6B-AC2D-B62426398FA6}"/>
              </a:ext>
            </a:extLst>
          </p:cNvPr>
          <p:cNvSpPr>
            <a:spLocks/>
          </p:cNvSpPr>
          <p:nvPr/>
        </p:nvSpPr>
        <p:spPr>
          <a:xfrm>
            <a:off x="3019776" y="2572513"/>
            <a:ext cx="2921885" cy="3564767"/>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a:solidFill>
                <a:schemeClr val="tx2"/>
              </a:solidFill>
              <a:latin typeface="Gill Sans MT" panose="020B0502020104020203" pitchFamily="34" charset="0"/>
            </a:endParaRPr>
          </a:p>
        </p:txBody>
      </p:sp>
      <p:grpSp>
        <p:nvGrpSpPr>
          <p:cNvPr id="33" name="Group 32">
            <a:extLst>
              <a:ext uri="{FF2B5EF4-FFF2-40B4-BE49-F238E27FC236}">
                <a16:creationId xmlns:a16="http://schemas.microsoft.com/office/drawing/2014/main" id="{4CB2F577-2B20-45FD-8E2D-AE134971AA5F}"/>
              </a:ext>
            </a:extLst>
          </p:cNvPr>
          <p:cNvGrpSpPr>
            <a:grpSpLocks/>
          </p:cNvGrpSpPr>
          <p:nvPr/>
        </p:nvGrpSpPr>
        <p:grpSpPr>
          <a:xfrm>
            <a:off x="6106520" y="3071164"/>
            <a:ext cx="2724923" cy="246221"/>
            <a:chOff x="6106522" y="3540767"/>
            <a:chExt cx="2693957" cy="262351"/>
          </a:xfrm>
        </p:grpSpPr>
        <p:sp>
          <p:nvSpPr>
            <p:cNvPr id="125" name="TextBox 124"/>
            <p:cNvSpPr txBox="1">
              <a:spLocks/>
            </p:cNvSpPr>
            <p:nvPr/>
          </p:nvSpPr>
          <p:spPr>
            <a:xfrm>
              <a:off x="6282836" y="3540767"/>
              <a:ext cx="2517643" cy="26235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s-EC" sz="800" dirty="0">
                  <a:latin typeface="Gill Sans MT" panose="020B0502020104020203" pitchFamily="34" charset="0"/>
                  <a:cs typeface="Calibri" panose="020F0502020204030204" pitchFamily="34" charset="0"/>
                  <a:sym typeface="Gill Sans MT" panose="020B0502020104020203" pitchFamily="34" charset="0"/>
                </a:rPr>
                <a:t>Bolsa, desechable para PPE de desechos de material de riesgo biológico y desperdicios clínicos sin objetos filosos</a:t>
              </a:r>
            </a:p>
          </p:txBody>
        </p:sp>
        <p:sp>
          <p:nvSpPr>
            <p:cNvPr id="126" name="Rectangle 125"/>
            <p:cNvSpPr>
              <a:spLocks/>
            </p:cNvSpPr>
            <p:nvPr/>
          </p:nvSpPr>
          <p:spPr>
            <a:xfrm>
              <a:off x="6106522" y="3556549"/>
              <a:ext cx="91428" cy="76168"/>
            </a:xfrm>
            <a:prstGeom prst="rect">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a:solidFill>
                  <a:schemeClr val="tx2"/>
                </a:solidFill>
                <a:latin typeface="Gill Sans MT" panose="020B0502020104020203" pitchFamily="34" charset="0"/>
              </a:endParaRPr>
            </a:p>
          </p:txBody>
        </p:sp>
      </p:grpSp>
      <p:grpSp>
        <p:nvGrpSpPr>
          <p:cNvPr id="34" name="Group 33">
            <a:extLst>
              <a:ext uri="{FF2B5EF4-FFF2-40B4-BE49-F238E27FC236}">
                <a16:creationId xmlns:a16="http://schemas.microsoft.com/office/drawing/2014/main" id="{6450FE0A-FE72-433E-9CCF-51E796594C37}"/>
              </a:ext>
            </a:extLst>
          </p:cNvPr>
          <p:cNvGrpSpPr>
            <a:grpSpLocks/>
          </p:cNvGrpSpPr>
          <p:nvPr/>
        </p:nvGrpSpPr>
        <p:grpSpPr>
          <a:xfrm>
            <a:off x="6106520" y="4378495"/>
            <a:ext cx="2724923" cy="123111"/>
            <a:chOff x="6106522" y="3902897"/>
            <a:chExt cx="2693957" cy="131176"/>
          </a:xfrm>
        </p:grpSpPr>
        <p:sp>
          <p:nvSpPr>
            <p:cNvPr id="131" name="TextBox 130"/>
            <p:cNvSpPr txBox="1">
              <a:spLocks/>
            </p:cNvSpPr>
            <p:nvPr/>
          </p:nvSpPr>
          <p:spPr>
            <a:xfrm>
              <a:off x="6282836" y="3902897"/>
              <a:ext cx="2517643" cy="131176"/>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246" fontAlgn="auto">
                <a:spcBef>
                  <a:spcPts val="0"/>
                </a:spcBef>
                <a:spcAft>
                  <a:spcPts val="0"/>
                </a:spcAft>
                <a:buClr>
                  <a:srgbClr val="002F6C"/>
                </a:buClr>
              </a:pPr>
              <a:r>
                <a:rPr lang="es-EC" sz="800" dirty="0">
                  <a:latin typeface="Gill Sans MT" panose="020B0502020104020203" pitchFamily="34" charset="0"/>
                  <a:cs typeface="Calibri" panose="020F0502020204030204" pitchFamily="34" charset="0"/>
                  <a:sym typeface="Gill Sans MT" panose="020B0502020104020203" pitchFamily="34" charset="0"/>
                </a:rPr>
                <a:t>Paracetamol</a:t>
              </a:r>
              <a:endParaRPr lang="en-US" sz="800" dirty="0">
                <a:solidFill>
                  <a:schemeClr val="tx2"/>
                </a:solidFill>
                <a:latin typeface="Gill Sans MT" panose="020B0502020104020203" pitchFamily="34" charset="0"/>
              </a:endParaRPr>
            </a:p>
          </p:txBody>
        </p:sp>
        <p:sp>
          <p:nvSpPr>
            <p:cNvPr id="132" name="Rectangle 131"/>
            <p:cNvSpPr>
              <a:spLocks/>
            </p:cNvSpPr>
            <p:nvPr/>
          </p:nvSpPr>
          <p:spPr>
            <a:xfrm>
              <a:off x="6106522" y="3918679"/>
              <a:ext cx="91428" cy="76168"/>
            </a:xfrm>
            <a:prstGeom prst="rect">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a:solidFill>
                  <a:schemeClr val="tx2"/>
                </a:solidFill>
                <a:latin typeface="Gill Sans MT" panose="020B0502020104020203" pitchFamily="34" charset="0"/>
              </a:endParaRPr>
            </a:p>
          </p:txBody>
        </p:sp>
      </p:grpSp>
      <p:sp>
        <p:nvSpPr>
          <p:cNvPr id="174" name="TextBox 173"/>
          <p:cNvSpPr txBox="1">
            <a:spLocks/>
          </p:cNvSpPr>
          <p:nvPr/>
        </p:nvSpPr>
        <p:spPr>
          <a:xfrm>
            <a:off x="6092231" y="4214838"/>
            <a:ext cx="2724923" cy="135761"/>
          </a:xfrm>
          <a:prstGeom prst="rect">
            <a:avLst/>
          </a:prstGeom>
        </p:spPr>
        <p:txBody>
          <a:bodyPr vert="horz" wrap="square" lIns="18288" tIns="18288" rIns="18288" bIns="18288" rtlCol="0">
            <a:noAutofit/>
          </a:bodyPr>
          <a:lstStyle>
            <a:defPPr>
              <a:defRPr lang="en-US"/>
            </a:defPPr>
            <a:lvl1pPr marL="0" lvl="0" indent="0" defTabSz="895255" eaLnBrk="1" latinLnBrk="0" hangingPunct="1">
              <a:buClr>
                <a:srgbClr val="002F6C"/>
              </a:buClr>
              <a:buSzPct val="100000"/>
              <a:defRPr sz="700" b="0" baseline="0">
                <a:solidFill>
                  <a:srgbClr val="0067B9"/>
                </a:solidFill>
                <a:latin typeface="Gill Sans MT"/>
              </a:defRPr>
            </a:lvl1pPr>
            <a:lvl2pPr marL="193675" lvl="1" indent="-192088" defTabSz="895350" eaLnBrk="1" latinLnBrk="0" hangingPunct="1">
              <a:buClr>
                <a:schemeClr val="tx2"/>
              </a:buClr>
              <a:buSzPct val="125000"/>
              <a:buFont typeface="Arial" panose="020B0604020202020204" pitchFamily="34" charset="0"/>
              <a:buChar char="•"/>
              <a:defRPr sz="1400" b="0" baseline="0">
                <a:latin typeface="GillSans" panose="020B0602020204020204" pitchFamily="34" charset="0"/>
              </a:defRPr>
            </a:lvl2pPr>
            <a:lvl3pPr marL="457200" lvl="2" indent="-261938" defTabSz="895350" eaLnBrk="1" latinLnBrk="0" hangingPunct="1">
              <a:buClr>
                <a:schemeClr val="tx2"/>
              </a:buClr>
              <a:buSzPct val="120000"/>
              <a:buFont typeface="Arial" charset="0"/>
              <a:buChar char="–"/>
              <a:defRPr sz="1400" b="0" baseline="0">
                <a:latin typeface="GillSans" panose="020B0602020204020204" pitchFamily="34" charset="0"/>
              </a:defRPr>
            </a:lvl3pPr>
            <a:lvl4pPr marL="614363" lvl="3" indent="-155575" defTabSz="895350" eaLnBrk="1" latinLnBrk="0" hangingPunct="1">
              <a:buClr>
                <a:schemeClr val="tx2"/>
              </a:buClr>
              <a:buSzPct val="120000"/>
              <a:buFont typeface="Arial" charset="0"/>
              <a:buChar char="▫"/>
              <a:defRPr sz="1400" b="0" baseline="0">
                <a:latin typeface="GillSans" panose="020B0602020204020204" pitchFamily="34" charset="0"/>
              </a:defRPr>
            </a:lvl4pPr>
            <a:lvl5pPr marL="749808" lvl="4" indent="-130175" defTabSz="895350" eaLnBrk="1" latinLnBrk="0" hangingPunct="1">
              <a:buClr>
                <a:schemeClr val="tx2"/>
              </a:buClr>
              <a:buSzPct val="89000"/>
              <a:buFont typeface="Arial" charset="0"/>
              <a:buChar char="-"/>
              <a:defRPr sz="1400" b="0" baseline="0">
                <a:latin typeface="GillSans" panose="020B0602020204020204" pitchFamily="34" charset="0"/>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sz="800" b="1" dirty="0">
                <a:solidFill>
                  <a:schemeClr val="tx2"/>
                </a:solidFill>
                <a:latin typeface="Gill Sans MT" panose="020B0502020104020203" pitchFamily="34" charset="0"/>
              </a:rPr>
              <a:t>MEDICAMENTOS E INSUMOS MÉDICOS </a:t>
            </a:r>
          </a:p>
        </p:txBody>
      </p:sp>
      <p:grpSp>
        <p:nvGrpSpPr>
          <p:cNvPr id="41" name="Group 40">
            <a:extLst>
              <a:ext uri="{FF2B5EF4-FFF2-40B4-BE49-F238E27FC236}">
                <a16:creationId xmlns:a16="http://schemas.microsoft.com/office/drawing/2014/main" id="{ABAA3235-09E6-4502-8956-294F628F4EBA}"/>
              </a:ext>
            </a:extLst>
          </p:cNvPr>
          <p:cNvGrpSpPr/>
          <p:nvPr/>
        </p:nvGrpSpPr>
        <p:grpSpPr>
          <a:xfrm>
            <a:off x="139895" y="2806166"/>
            <a:ext cx="2698740" cy="123111"/>
            <a:chOff x="141996" y="4190258"/>
            <a:chExt cx="2698740" cy="131176"/>
          </a:xfrm>
        </p:grpSpPr>
        <p:sp>
          <p:nvSpPr>
            <p:cNvPr id="147" name="TextBox 146"/>
            <p:cNvSpPr txBox="1">
              <a:spLocks/>
            </p:cNvSpPr>
            <p:nvPr/>
          </p:nvSpPr>
          <p:spPr>
            <a:xfrm>
              <a:off x="326043" y="4190258"/>
              <a:ext cx="2514693" cy="131176"/>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246" fontAlgn="auto">
                <a:spcBef>
                  <a:spcPts val="0"/>
                </a:spcBef>
                <a:spcAft>
                  <a:spcPts val="0"/>
                </a:spcAft>
                <a:buClr>
                  <a:srgbClr val="002F6C"/>
                </a:buClr>
              </a:pPr>
              <a:r>
                <a:rPr lang="es-ES" sz="800" dirty="0">
                  <a:latin typeface="Gill Sans MT" panose="020B0502020104020203" pitchFamily="34" charset="0"/>
                </a:rPr>
                <a:t>Equipos de laboratorio ELISA y RT-PCR y reactivos</a:t>
              </a:r>
            </a:p>
          </p:txBody>
        </p:sp>
        <p:sp>
          <p:nvSpPr>
            <p:cNvPr id="148" name="Rectangle 147"/>
            <p:cNvSpPr>
              <a:spLocks/>
            </p:cNvSpPr>
            <p:nvPr/>
          </p:nvSpPr>
          <p:spPr>
            <a:xfrm>
              <a:off x="141996" y="4197037"/>
              <a:ext cx="91550" cy="76168"/>
            </a:xfrm>
            <a:prstGeom prst="rect">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a:solidFill>
                  <a:schemeClr val="tx2"/>
                </a:solidFill>
                <a:latin typeface="Gill Sans MT" panose="020B0502020104020203" pitchFamily="34" charset="0"/>
              </a:endParaRPr>
            </a:p>
          </p:txBody>
        </p:sp>
      </p:grpSp>
      <p:sp>
        <p:nvSpPr>
          <p:cNvPr id="154" name="TextBox 153"/>
          <p:cNvSpPr txBox="1">
            <a:spLocks/>
          </p:cNvSpPr>
          <p:nvPr/>
        </p:nvSpPr>
        <p:spPr>
          <a:xfrm>
            <a:off x="326043" y="4227393"/>
            <a:ext cx="2521002" cy="12311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s-EC" sz="800" dirty="0">
                <a:solidFill>
                  <a:srgbClr val="000000"/>
                </a:solidFill>
                <a:latin typeface="Gill Sans MT" panose="020B0502020104020203" pitchFamily="34" charset="0"/>
                <a:cs typeface="Calibri" panose="020F0502020204030204" pitchFamily="34" charset="0"/>
                <a:sym typeface="Gill Sans MT" panose="020B0502020104020203" pitchFamily="34" charset="0"/>
              </a:rPr>
              <a:t>Instalaciones de </a:t>
            </a:r>
            <a:r>
              <a:rPr lang="es-EC" sz="800" dirty="0" err="1">
                <a:solidFill>
                  <a:srgbClr val="000000"/>
                </a:solidFill>
                <a:latin typeface="Gill Sans MT" panose="020B0502020104020203" pitchFamily="34" charset="0"/>
                <a:cs typeface="Calibri" panose="020F0502020204030204" pitchFamily="34" charset="0"/>
                <a:sym typeface="Gill Sans MT" panose="020B0502020104020203" pitchFamily="34" charset="0"/>
              </a:rPr>
              <a:t>triage</a:t>
            </a:r>
            <a:r>
              <a:rPr lang="es-EC" sz="800" dirty="0">
                <a:solidFill>
                  <a:srgbClr val="000000"/>
                </a:solidFill>
                <a:latin typeface="Gill Sans MT" panose="020B0502020104020203" pitchFamily="34" charset="0"/>
                <a:cs typeface="Calibri" panose="020F0502020204030204" pitchFamily="34" charset="0"/>
                <a:sym typeface="Gill Sans MT" panose="020B0502020104020203" pitchFamily="34" charset="0"/>
              </a:rPr>
              <a:t> médico/tratamiento/aislamiento</a:t>
            </a:r>
          </a:p>
        </p:txBody>
      </p:sp>
      <p:sp>
        <p:nvSpPr>
          <p:cNvPr id="156" name="Rectangle 155"/>
          <p:cNvSpPr>
            <a:spLocks/>
          </p:cNvSpPr>
          <p:nvPr/>
        </p:nvSpPr>
        <p:spPr>
          <a:xfrm>
            <a:off x="141996" y="4233766"/>
            <a:ext cx="91550" cy="71485"/>
          </a:xfrm>
          <a:prstGeom prst="rect">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a:solidFill>
                <a:schemeClr val="tx2"/>
              </a:solidFill>
              <a:latin typeface="Gill Sans MT" panose="020B0502020104020203" pitchFamily="34" charset="0"/>
            </a:endParaRPr>
          </a:p>
        </p:txBody>
      </p:sp>
      <p:sp>
        <p:nvSpPr>
          <p:cNvPr id="175" name="TextBox 174"/>
          <p:cNvSpPr txBox="1">
            <a:spLocks/>
          </p:cNvSpPr>
          <p:nvPr/>
        </p:nvSpPr>
        <p:spPr>
          <a:xfrm>
            <a:off x="113419" y="3106769"/>
            <a:ext cx="2705049" cy="283154"/>
          </a:xfrm>
          <a:prstGeom prst="rect">
            <a:avLst/>
          </a:prstGeom>
        </p:spPr>
        <p:txBody>
          <a:bodyPr vert="horz" wrap="square" lIns="18288" tIns="18288" rIns="18288" bIns="18288" rtlCol="0">
            <a:spAutoFit/>
          </a:bodyPr>
          <a:lstStyle>
            <a:defPPr>
              <a:defRPr lang="en-US"/>
            </a:defPPr>
            <a:lvl1pPr marL="0" lvl="0" indent="0" defTabSz="895255" eaLnBrk="1" latinLnBrk="0" hangingPunct="1">
              <a:buClr>
                <a:srgbClr val="002F6C"/>
              </a:buClr>
              <a:buSzPct val="100000"/>
              <a:defRPr sz="700" b="0" baseline="0">
                <a:solidFill>
                  <a:srgbClr val="0067B9"/>
                </a:solidFill>
                <a:latin typeface="Gill Sans MT"/>
              </a:defRPr>
            </a:lvl1pPr>
            <a:lvl2pPr marL="193675" lvl="1" indent="-192088" defTabSz="895350" eaLnBrk="1" latinLnBrk="0" hangingPunct="1">
              <a:buClr>
                <a:schemeClr val="tx2"/>
              </a:buClr>
              <a:buSzPct val="125000"/>
              <a:buFont typeface="Arial" panose="020B0604020202020204" pitchFamily="34" charset="0"/>
              <a:buChar char="•"/>
              <a:defRPr sz="1400" b="0" baseline="0">
                <a:latin typeface="GillSans" panose="020B0602020204020204" pitchFamily="34" charset="0"/>
              </a:defRPr>
            </a:lvl2pPr>
            <a:lvl3pPr marL="457200" lvl="2" indent="-261938" defTabSz="895350" eaLnBrk="1" latinLnBrk="0" hangingPunct="1">
              <a:buClr>
                <a:schemeClr val="tx2"/>
              </a:buClr>
              <a:buSzPct val="120000"/>
              <a:buFont typeface="Arial" charset="0"/>
              <a:buChar char="–"/>
              <a:defRPr sz="1400" b="0" baseline="0">
                <a:latin typeface="GillSans" panose="020B0602020204020204" pitchFamily="34" charset="0"/>
              </a:defRPr>
            </a:lvl3pPr>
            <a:lvl4pPr marL="614363" lvl="3" indent="-155575" defTabSz="895350" eaLnBrk="1" latinLnBrk="0" hangingPunct="1">
              <a:buClr>
                <a:schemeClr val="tx2"/>
              </a:buClr>
              <a:buSzPct val="120000"/>
              <a:buFont typeface="Arial" charset="0"/>
              <a:buChar char="▫"/>
              <a:defRPr sz="1400" b="0" baseline="0">
                <a:latin typeface="GillSans" panose="020B0602020204020204" pitchFamily="34" charset="0"/>
              </a:defRPr>
            </a:lvl4pPr>
            <a:lvl5pPr marL="749808" lvl="4" indent="-130175" defTabSz="895350" eaLnBrk="1" latinLnBrk="0" hangingPunct="1">
              <a:buClr>
                <a:schemeClr val="tx2"/>
              </a:buClr>
              <a:buSzPct val="89000"/>
              <a:buFont typeface="Arial" charset="0"/>
              <a:buChar char="-"/>
              <a:defRPr sz="1400" b="0" baseline="0">
                <a:latin typeface="GillSans" panose="020B0602020204020204" pitchFamily="34" charset="0"/>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77443" fontAlgn="auto">
              <a:spcBef>
                <a:spcPts val="0"/>
              </a:spcBef>
              <a:spcAft>
                <a:spcPts val="0"/>
              </a:spcAft>
            </a:pPr>
            <a:r>
              <a:rPr lang="es-ES" sz="800" b="1" dirty="0">
                <a:solidFill>
                  <a:schemeClr val="tx2"/>
                </a:solidFill>
                <a:latin typeface="Gill Sans MT" panose="020B0502020104020203" pitchFamily="34" charset="0"/>
              </a:rPr>
              <a:t>INFRAESTRUCTURA Y EQUIPOS DE INSTALACIONES DE SALUD </a:t>
            </a:r>
          </a:p>
        </p:txBody>
      </p:sp>
      <p:sp>
        <p:nvSpPr>
          <p:cNvPr id="438" name="TextBox 437"/>
          <p:cNvSpPr txBox="1">
            <a:spLocks/>
          </p:cNvSpPr>
          <p:nvPr/>
        </p:nvSpPr>
        <p:spPr>
          <a:xfrm>
            <a:off x="113419" y="2606168"/>
            <a:ext cx="2705049" cy="246221"/>
          </a:xfrm>
          <a:prstGeom prst="rect">
            <a:avLst/>
          </a:prstGeom>
        </p:spPr>
        <p:txBody>
          <a:bodyPr vert="horz" wrap="square" lIns="0" tIns="0" rIns="0" bIns="0" rtlCol="0">
            <a:spAutoFit/>
          </a:bodyPr>
          <a:lstStyle>
            <a:defPPr>
              <a:defRPr lang="en-US"/>
            </a:defPPr>
            <a:lvl1pPr marL="0" marR="0" lvl="0" indent="0" defTabSz="877443" eaLnBrk="1" fontAlgn="auto" latinLnBrk="0" hangingPunct="1">
              <a:lnSpc>
                <a:spcPct val="100000"/>
              </a:lnSpc>
              <a:spcBef>
                <a:spcPts val="0"/>
              </a:spcBef>
              <a:spcAft>
                <a:spcPts val="0"/>
              </a:spcAft>
              <a:buClr>
                <a:srgbClr val="002F6C"/>
              </a:buClr>
              <a:buSzPct val="100000"/>
              <a:buFontTx/>
              <a:buNone/>
              <a:tabLst/>
              <a:defRPr kumimoji="0" sz="800" b="1" i="0" u="none" strike="noStrike" cap="none" spc="0" normalizeH="0" baseline="0">
                <a:ln>
                  <a:noFill/>
                </a:ln>
                <a:solidFill>
                  <a:schemeClr val="accent3"/>
                </a:solidFill>
                <a:effectLst/>
                <a:uLnTx/>
                <a:uFillTx/>
                <a:latin typeface="Gill Sans MT" panose="020B0502020104020203" pitchFamily="34" charset="0"/>
              </a:defRPr>
            </a:lvl1pPr>
            <a:lvl2pPr marL="193675" lvl="1" indent="-192088" defTabSz="895350" eaLnBrk="1" latinLnBrk="0" hangingPunct="1">
              <a:buClr>
                <a:schemeClr val="tx2"/>
              </a:buClr>
              <a:buSzPct val="125000"/>
              <a:buFont typeface="Arial" panose="020B0604020202020204" pitchFamily="34" charset="0"/>
              <a:buChar char="•"/>
              <a:defRPr sz="1400" b="0" baseline="0">
                <a:latin typeface="GillSans" panose="020B0602020204020204" pitchFamily="34" charset="0"/>
              </a:defRPr>
            </a:lvl2pPr>
            <a:lvl3pPr marL="457200" lvl="2" indent="-261938" defTabSz="895350" eaLnBrk="1" latinLnBrk="0" hangingPunct="1">
              <a:buClr>
                <a:schemeClr val="tx2"/>
              </a:buClr>
              <a:buSzPct val="120000"/>
              <a:buFont typeface="Arial" charset="0"/>
              <a:buChar char="–"/>
              <a:defRPr sz="1400" b="0" baseline="0">
                <a:latin typeface="GillSans" panose="020B0602020204020204" pitchFamily="34" charset="0"/>
              </a:defRPr>
            </a:lvl3pPr>
            <a:lvl4pPr marL="614363" lvl="3" indent="-155575" defTabSz="895350" eaLnBrk="1" latinLnBrk="0" hangingPunct="1">
              <a:buClr>
                <a:schemeClr val="tx2"/>
              </a:buClr>
              <a:buSzPct val="120000"/>
              <a:buFont typeface="Arial" charset="0"/>
              <a:buChar char="▫"/>
              <a:defRPr sz="1400" b="0" baseline="0">
                <a:latin typeface="GillSans" panose="020B0602020204020204" pitchFamily="34" charset="0"/>
              </a:defRPr>
            </a:lvl4pPr>
            <a:lvl5pPr marL="749808" lvl="4" indent="-130175" defTabSz="895350" eaLnBrk="1" latinLnBrk="0" hangingPunct="1">
              <a:buClr>
                <a:schemeClr val="tx2"/>
              </a:buClr>
              <a:buSzPct val="89000"/>
              <a:buFont typeface="Arial" charset="0"/>
              <a:buChar char="-"/>
              <a:defRPr sz="1400" b="0" baseline="0">
                <a:latin typeface="GillSans" panose="020B0602020204020204" pitchFamily="34" charset="0"/>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s-EC" dirty="0">
                <a:solidFill>
                  <a:schemeClr val="accent4"/>
                </a:solidFill>
                <a:cs typeface="Calibri" panose="020F0502020204030204" pitchFamily="34" charset="0"/>
                <a:sym typeface="Gill Sans MT" panose="020B0502020104020203" pitchFamily="34" charset="0"/>
              </a:rPr>
              <a:t>DIAGNÓSTICO</a:t>
            </a:r>
          </a:p>
          <a:p>
            <a:endParaRPr lang="en-US" dirty="0">
              <a:solidFill>
                <a:schemeClr val="tx2"/>
              </a:solidFill>
            </a:endParaRPr>
          </a:p>
        </p:txBody>
      </p:sp>
      <p:grpSp>
        <p:nvGrpSpPr>
          <p:cNvPr id="3" name="Group 2">
            <a:extLst>
              <a:ext uri="{FF2B5EF4-FFF2-40B4-BE49-F238E27FC236}">
                <a16:creationId xmlns:a16="http://schemas.microsoft.com/office/drawing/2014/main" id="{FB24459E-48F1-49C3-9D57-CB525BBBF36F}"/>
              </a:ext>
            </a:extLst>
          </p:cNvPr>
          <p:cNvGrpSpPr/>
          <p:nvPr/>
        </p:nvGrpSpPr>
        <p:grpSpPr>
          <a:xfrm>
            <a:off x="141996" y="3415178"/>
            <a:ext cx="2705171" cy="214855"/>
            <a:chOff x="141996" y="3356418"/>
            <a:chExt cx="2705171" cy="262351"/>
          </a:xfrm>
        </p:grpSpPr>
        <p:sp>
          <p:nvSpPr>
            <p:cNvPr id="439" name="Rectangle 438"/>
            <p:cNvSpPr>
              <a:spLocks/>
            </p:cNvSpPr>
            <p:nvPr/>
          </p:nvSpPr>
          <p:spPr>
            <a:xfrm>
              <a:off x="141996" y="3388839"/>
              <a:ext cx="91428" cy="76168"/>
            </a:xfrm>
            <a:prstGeom prst="rect">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a:solidFill>
                  <a:schemeClr val="tx2"/>
                </a:solidFill>
                <a:latin typeface="Gill Sans MT" panose="020B0502020104020203" pitchFamily="34" charset="0"/>
              </a:endParaRPr>
            </a:p>
          </p:txBody>
        </p:sp>
        <p:sp>
          <p:nvSpPr>
            <p:cNvPr id="440" name="TextBox 439"/>
            <p:cNvSpPr txBox="1">
              <a:spLocks/>
            </p:cNvSpPr>
            <p:nvPr/>
          </p:nvSpPr>
          <p:spPr>
            <a:xfrm>
              <a:off x="325921" y="3356418"/>
              <a:ext cx="2521246" cy="262351"/>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r>
                <a:rPr lang="es-EC" sz="800">
                  <a:solidFill>
                    <a:srgbClr val="000000"/>
                  </a:solidFill>
                  <a:latin typeface="Gill Sans MT" panose="020B0502020104020203" pitchFamily="34" charset="0"/>
                  <a:cs typeface="Calibri" panose="020F0502020204030204" pitchFamily="34" charset="0"/>
                  <a:sym typeface="Gill Sans MT" panose="020B0502020104020203" pitchFamily="34" charset="0"/>
                </a:rPr>
                <a:t>Ambulancia con sistema de aislamiento de aire para el transporte de pacientes contagiosos</a:t>
              </a:r>
              <a:endParaRPr lang="es-EC" sz="800" baseline="30000" dirty="0">
                <a:solidFill>
                  <a:srgbClr val="000000"/>
                </a:solidFill>
                <a:latin typeface="Gill Sans MT" panose="020B0502020104020203" pitchFamily="34" charset="0"/>
                <a:cs typeface="Calibri" panose="020F0502020204030204" pitchFamily="34" charset="0"/>
                <a:sym typeface="Gill Sans MT" panose="020B0502020104020203" pitchFamily="34" charset="0"/>
              </a:endParaRPr>
            </a:p>
          </p:txBody>
        </p:sp>
      </p:grpSp>
      <p:sp>
        <p:nvSpPr>
          <p:cNvPr id="207" name="TextBox 206"/>
          <p:cNvSpPr txBox="1">
            <a:spLocks/>
          </p:cNvSpPr>
          <p:nvPr/>
        </p:nvSpPr>
        <p:spPr>
          <a:xfrm>
            <a:off x="113419" y="5374943"/>
            <a:ext cx="2705049" cy="160044"/>
          </a:xfrm>
          <a:prstGeom prst="rect">
            <a:avLst/>
          </a:prstGeom>
        </p:spPr>
        <p:txBody>
          <a:bodyPr vert="horz" wrap="square" lIns="18288" tIns="18288" rIns="18288" bIns="18288" rtlCol="0">
            <a:spAutoFit/>
          </a:bodyPr>
          <a:lstStyle>
            <a:defPPr>
              <a:defRPr lang="en-US"/>
            </a:defPPr>
            <a:lvl1pPr marL="0" marR="0" lvl="0" indent="0" defTabSz="895350" eaLnBrk="1" latinLnBrk="0" hangingPunct="1">
              <a:lnSpc>
                <a:spcPct val="100000"/>
              </a:lnSpc>
              <a:buClr>
                <a:srgbClr val="002F6C"/>
              </a:buClr>
              <a:buSzPct val="100000"/>
              <a:buFontTx/>
              <a:buNone/>
              <a:tabLst/>
              <a:defRPr kumimoji="0" sz="700" b="0" i="0" u="none" strike="noStrike" cap="none" spc="0" normalizeH="0" baseline="0">
                <a:ln>
                  <a:noFill/>
                </a:ln>
                <a:solidFill>
                  <a:srgbClr val="0067B9"/>
                </a:solidFill>
                <a:effectLst/>
                <a:uLnTx/>
                <a:uFillTx/>
                <a:latin typeface="Gill Sans MT" panose="020B0502020104020203" pitchFamily="34" charset="0"/>
              </a:defRPr>
            </a:lvl1pPr>
            <a:lvl2pPr marL="193675" lvl="1" indent="-192088" defTabSz="895350" eaLnBrk="1" latinLnBrk="0" hangingPunct="1">
              <a:buClr>
                <a:schemeClr val="tx2"/>
              </a:buClr>
              <a:buSzPct val="125000"/>
              <a:buFont typeface="Arial" panose="020B0604020202020204" pitchFamily="34" charset="0"/>
              <a:buChar char="•"/>
              <a:defRPr sz="1400" b="0" baseline="0">
                <a:latin typeface="GillSans" panose="020B0602020204020204" pitchFamily="34" charset="0"/>
              </a:defRPr>
            </a:lvl2pPr>
            <a:lvl3pPr marL="457200" lvl="2" indent="-261938" defTabSz="895350" eaLnBrk="1" latinLnBrk="0" hangingPunct="1">
              <a:buClr>
                <a:schemeClr val="tx2"/>
              </a:buClr>
              <a:buSzPct val="120000"/>
              <a:buFont typeface="Arial" charset="0"/>
              <a:buChar char="–"/>
              <a:defRPr sz="1400" b="0" baseline="0">
                <a:latin typeface="GillSans" panose="020B0602020204020204" pitchFamily="34" charset="0"/>
              </a:defRPr>
            </a:lvl3pPr>
            <a:lvl4pPr marL="614363" lvl="3" indent="-155575" defTabSz="895350" eaLnBrk="1" latinLnBrk="0" hangingPunct="1">
              <a:buClr>
                <a:schemeClr val="tx2"/>
              </a:buClr>
              <a:buSzPct val="120000"/>
              <a:buFont typeface="Arial" charset="0"/>
              <a:buChar char="▫"/>
              <a:defRPr sz="1400" b="0" baseline="0">
                <a:latin typeface="GillSans" panose="020B0602020204020204" pitchFamily="34" charset="0"/>
              </a:defRPr>
            </a:lvl4pPr>
            <a:lvl5pPr marL="749808" lvl="4" indent="-130175" defTabSz="895350" eaLnBrk="1" latinLnBrk="0" hangingPunct="1">
              <a:buClr>
                <a:schemeClr val="tx2"/>
              </a:buClr>
              <a:buSzPct val="89000"/>
              <a:buFont typeface="Arial" charset="0"/>
              <a:buChar char="-"/>
              <a:defRPr sz="1400" b="0" baseline="0">
                <a:latin typeface="GillSans" panose="020B0602020204020204" pitchFamily="34" charset="0"/>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s-EC" sz="800" b="1" dirty="0">
                <a:solidFill>
                  <a:schemeClr val="accent4"/>
                </a:solidFill>
                <a:cs typeface="Calibri" panose="020F0502020204030204" pitchFamily="34" charset="0"/>
                <a:sym typeface="Gill Sans MT" panose="020B0502020104020203" pitchFamily="34" charset="0"/>
              </a:rPr>
              <a:t>EQUIPOS MÉDICOS</a:t>
            </a:r>
          </a:p>
        </p:txBody>
      </p:sp>
      <p:grpSp>
        <p:nvGrpSpPr>
          <p:cNvPr id="48" name="Group 47">
            <a:extLst>
              <a:ext uri="{FF2B5EF4-FFF2-40B4-BE49-F238E27FC236}">
                <a16:creationId xmlns:a16="http://schemas.microsoft.com/office/drawing/2014/main" id="{53FB072F-22E1-443E-ABD6-F42F48790203}"/>
              </a:ext>
            </a:extLst>
          </p:cNvPr>
          <p:cNvGrpSpPr/>
          <p:nvPr/>
        </p:nvGrpSpPr>
        <p:grpSpPr>
          <a:xfrm>
            <a:off x="135687" y="5765504"/>
            <a:ext cx="2705049" cy="123111"/>
            <a:chOff x="141996" y="5348013"/>
            <a:chExt cx="2705049" cy="131176"/>
          </a:xfrm>
        </p:grpSpPr>
        <p:sp>
          <p:nvSpPr>
            <p:cNvPr id="212" name="Rectangle 211"/>
            <p:cNvSpPr>
              <a:spLocks/>
            </p:cNvSpPr>
            <p:nvPr/>
          </p:nvSpPr>
          <p:spPr>
            <a:xfrm>
              <a:off x="141996" y="5375524"/>
              <a:ext cx="91428" cy="76168"/>
            </a:xfrm>
            <a:prstGeom prst="rect">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a:solidFill>
                  <a:schemeClr val="tx2"/>
                </a:solidFill>
                <a:latin typeface="Gill Sans MT" panose="020B0502020104020203" pitchFamily="34" charset="0"/>
              </a:endParaRPr>
            </a:p>
          </p:txBody>
        </p:sp>
        <p:sp>
          <p:nvSpPr>
            <p:cNvPr id="213" name="TextBox 212"/>
            <p:cNvSpPr txBox="1">
              <a:spLocks/>
            </p:cNvSpPr>
            <p:nvPr/>
          </p:nvSpPr>
          <p:spPr>
            <a:xfrm>
              <a:off x="325799" y="5348013"/>
              <a:ext cx="2521246" cy="131176"/>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r>
                <a:rPr lang="es-EC" sz="800" dirty="0">
                  <a:solidFill>
                    <a:srgbClr val="000000"/>
                  </a:solidFill>
                  <a:latin typeface="Gill Sans MT" panose="020B0502020104020203" pitchFamily="34" charset="0"/>
                  <a:cs typeface="Calibri" panose="020F0502020204030204" pitchFamily="34" charset="0"/>
                  <a:sym typeface="Gill Sans MT" panose="020B0502020104020203" pitchFamily="34" charset="0"/>
                </a:rPr>
                <a:t>Laringoscopio, juego para adultos y niños</a:t>
              </a:r>
              <a:endParaRPr lang="es-EC" sz="800" baseline="30000" dirty="0">
                <a:solidFill>
                  <a:srgbClr val="000000"/>
                </a:solidFill>
                <a:latin typeface="Gill Sans MT" panose="020B0502020104020203" pitchFamily="34" charset="0"/>
                <a:cs typeface="Calibri" panose="020F0502020204030204" pitchFamily="34" charset="0"/>
                <a:sym typeface="Gill Sans MT" panose="020B0502020104020203" pitchFamily="34" charset="0"/>
              </a:endParaRPr>
            </a:p>
          </p:txBody>
        </p:sp>
      </p:grpSp>
      <p:cxnSp>
        <p:nvCxnSpPr>
          <p:cNvPr id="237" name="Straight Connector 236"/>
          <p:cNvCxnSpPr>
            <a:cxnSpLocks/>
          </p:cNvCxnSpPr>
          <p:nvPr/>
        </p:nvCxnSpPr>
        <p:spPr>
          <a:xfrm>
            <a:off x="135687" y="5927714"/>
            <a:ext cx="2705049" cy="0"/>
          </a:xfrm>
          <a:prstGeom prst="line">
            <a:avLst/>
          </a:prstGeom>
          <a:ln w="3175">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337" name="Rectangle 336"/>
          <p:cNvSpPr>
            <a:spLocks/>
          </p:cNvSpPr>
          <p:nvPr/>
        </p:nvSpPr>
        <p:spPr>
          <a:xfrm>
            <a:off x="3117759" y="4654089"/>
            <a:ext cx="91428" cy="71485"/>
          </a:xfrm>
          <a:prstGeom prst="rect">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a:solidFill>
                <a:schemeClr val="tx2"/>
              </a:solidFill>
              <a:latin typeface="Gill Sans MT" panose="020B0502020104020203" pitchFamily="34" charset="0"/>
            </a:endParaRPr>
          </a:p>
        </p:txBody>
      </p:sp>
      <p:sp>
        <p:nvSpPr>
          <p:cNvPr id="342" name="TextBox 341"/>
          <p:cNvSpPr txBox="1">
            <a:spLocks/>
          </p:cNvSpPr>
          <p:nvPr/>
        </p:nvSpPr>
        <p:spPr>
          <a:xfrm>
            <a:off x="3098707" y="4429261"/>
            <a:ext cx="2725919" cy="160044"/>
          </a:xfrm>
          <a:prstGeom prst="rect">
            <a:avLst/>
          </a:prstGeom>
        </p:spPr>
        <p:txBody>
          <a:bodyPr vert="horz" wrap="square" lIns="18288" tIns="18288" rIns="18288" bIns="18288" rtlCol="0">
            <a:spAutoFit/>
          </a:bodyPr>
          <a:lstStyle>
            <a:defPPr>
              <a:defRPr lang="en-US"/>
            </a:defPPr>
            <a:lvl1pPr marL="0" marR="0" lvl="0" indent="0" defTabSz="895350" eaLnBrk="1" latinLnBrk="0" hangingPunct="1">
              <a:lnSpc>
                <a:spcPct val="100000"/>
              </a:lnSpc>
              <a:buClr>
                <a:srgbClr val="002F6C"/>
              </a:buClr>
              <a:buSzPct val="100000"/>
              <a:buFontTx/>
              <a:buNone/>
              <a:tabLst/>
              <a:defRPr kumimoji="0" sz="700" b="0" i="0" u="none" strike="noStrike" cap="none" spc="0" normalizeH="0" baseline="0">
                <a:ln>
                  <a:noFill/>
                </a:ln>
                <a:solidFill>
                  <a:srgbClr val="0067B9"/>
                </a:solidFill>
                <a:effectLst/>
                <a:uLnTx/>
                <a:uFillTx/>
                <a:latin typeface="Gill Sans MT" panose="020B0502020104020203" pitchFamily="34" charset="0"/>
              </a:defRPr>
            </a:lvl1pPr>
            <a:lvl2pPr marL="193675" lvl="1" indent="-192088" defTabSz="895350" eaLnBrk="1" latinLnBrk="0" hangingPunct="1">
              <a:buClr>
                <a:schemeClr val="tx2"/>
              </a:buClr>
              <a:buSzPct val="125000"/>
              <a:buFont typeface="Arial" panose="020B0604020202020204" pitchFamily="34" charset="0"/>
              <a:buChar char="•"/>
              <a:defRPr sz="1400" b="0" baseline="0">
                <a:latin typeface="GillSans" panose="020B0602020204020204" pitchFamily="34" charset="0"/>
              </a:defRPr>
            </a:lvl2pPr>
            <a:lvl3pPr marL="457200" lvl="2" indent="-261938" defTabSz="895350" eaLnBrk="1" latinLnBrk="0" hangingPunct="1">
              <a:buClr>
                <a:schemeClr val="tx2"/>
              </a:buClr>
              <a:buSzPct val="120000"/>
              <a:buFont typeface="Arial" charset="0"/>
              <a:buChar char="–"/>
              <a:defRPr sz="1400" b="0" baseline="0">
                <a:latin typeface="GillSans" panose="020B0602020204020204" pitchFamily="34" charset="0"/>
              </a:defRPr>
            </a:lvl3pPr>
            <a:lvl4pPr marL="614363" lvl="3" indent="-155575" defTabSz="895350" eaLnBrk="1" latinLnBrk="0" hangingPunct="1">
              <a:buClr>
                <a:schemeClr val="tx2"/>
              </a:buClr>
              <a:buSzPct val="120000"/>
              <a:buFont typeface="Arial" charset="0"/>
              <a:buChar char="▫"/>
              <a:defRPr sz="1400" b="0" baseline="0">
                <a:latin typeface="GillSans" panose="020B0602020204020204" pitchFamily="34" charset="0"/>
              </a:defRPr>
            </a:lvl4pPr>
            <a:lvl5pPr marL="749808" lvl="4" indent="-130175" defTabSz="895350" eaLnBrk="1" latinLnBrk="0" hangingPunct="1">
              <a:buClr>
                <a:schemeClr val="tx2"/>
              </a:buClr>
              <a:buSzPct val="89000"/>
              <a:buFont typeface="Arial" charset="0"/>
              <a:buChar char="-"/>
              <a:defRPr sz="1400" b="0" baseline="0">
                <a:latin typeface="GillSans" panose="020B0602020204020204" pitchFamily="34" charset="0"/>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s-EC" sz="800" b="1" dirty="0">
                <a:solidFill>
                  <a:schemeClr val="accent4"/>
                </a:solidFill>
                <a:cs typeface="Calibri" panose="020F0502020204030204" pitchFamily="34" charset="0"/>
                <a:sym typeface="Gill Sans MT" panose="020B0502020104020203" pitchFamily="34" charset="0"/>
              </a:rPr>
              <a:t>EQUIPOS DE PROTECCIÓN PERSONAL </a:t>
            </a:r>
          </a:p>
        </p:txBody>
      </p:sp>
      <p:sp>
        <p:nvSpPr>
          <p:cNvPr id="362" name="Rectangle 361"/>
          <p:cNvSpPr>
            <a:spLocks/>
          </p:cNvSpPr>
          <p:nvPr/>
        </p:nvSpPr>
        <p:spPr>
          <a:xfrm>
            <a:off x="3117759" y="4874835"/>
            <a:ext cx="91428" cy="71485"/>
          </a:xfrm>
          <a:prstGeom prst="rect">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a:solidFill>
                <a:schemeClr val="tx2"/>
              </a:solidFill>
              <a:latin typeface="Gill Sans MT" panose="020B0502020104020203" pitchFamily="34" charset="0"/>
            </a:endParaRPr>
          </a:p>
        </p:txBody>
      </p:sp>
      <p:cxnSp>
        <p:nvCxnSpPr>
          <p:cNvPr id="371" name="Straight Connector 370"/>
          <p:cNvCxnSpPr>
            <a:cxnSpLocks/>
          </p:cNvCxnSpPr>
          <p:nvPr/>
        </p:nvCxnSpPr>
        <p:spPr>
          <a:xfrm>
            <a:off x="3117760" y="4800212"/>
            <a:ext cx="2725919" cy="0"/>
          </a:xfrm>
          <a:prstGeom prst="line">
            <a:avLst/>
          </a:prstGeom>
          <a:ln w="317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343" name="Straight Connector 342"/>
          <p:cNvCxnSpPr>
            <a:cxnSpLocks/>
          </p:cNvCxnSpPr>
          <p:nvPr/>
        </p:nvCxnSpPr>
        <p:spPr>
          <a:xfrm>
            <a:off x="3125632" y="3483919"/>
            <a:ext cx="2725919" cy="0"/>
          </a:xfrm>
          <a:prstGeom prst="line">
            <a:avLst/>
          </a:prstGeom>
          <a:ln w="3175">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0886A3B0-218C-49D4-90CF-F54E29EACBC1}"/>
              </a:ext>
            </a:extLst>
          </p:cNvPr>
          <p:cNvGrpSpPr/>
          <p:nvPr/>
        </p:nvGrpSpPr>
        <p:grpSpPr>
          <a:xfrm>
            <a:off x="3117759" y="3532731"/>
            <a:ext cx="2725920" cy="123111"/>
            <a:chOff x="3117759" y="3245186"/>
            <a:chExt cx="2725920" cy="131176"/>
          </a:xfrm>
        </p:grpSpPr>
        <p:sp>
          <p:nvSpPr>
            <p:cNvPr id="346" name="TextBox 345"/>
            <p:cNvSpPr txBox="1">
              <a:spLocks/>
            </p:cNvSpPr>
            <p:nvPr/>
          </p:nvSpPr>
          <p:spPr>
            <a:xfrm>
              <a:off x="3294076" y="3245186"/>
              <a:ext cx="2549603" cy="131176"/>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r>
                <a:rPr lang="es-EC" sz="800" dirty="0">
                  <a:solidFill>
                    <a:srgbClr val="000000"/>
                  </a:solidFill>
                  <a:latin typeface="Gill Sans MT" panose="020B0502020104020203" pitchFamily="34" charset="0"/>
                  <a:cs typeface="Calibri" panose="020F0502020204030204" pitchFamily="34" charset="0"/>
                  <a:sym typeface="Gill Sans MT" panose="020B0502020104020203" pitchFamily="34" charset="0"/>
                </a:rPr>
                <a:t>Hisopos para la toma de muestras bucales </a:t>
              </a:r>
            </a:p>
          </p:txBody>
        </p:sp>
        <p:sp>
          <p:nvSpPr>
            <p:cNvPr id="347" name="Rectangle 346"/>
            <p:cNvSpPr>
              <a:spLocks/>
            </p:cNvSpPr>
            <p:nvPr/>
          </p:nvSpPr>
          <p:spPr>
            <a:xfrm>
              <a:off x="3117759" y="3272694"/>
              <a:ext cx="91428" cy="76168"/>
            </a:xfrm>
            <a:prstGeom prst="rect">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a:solidFill>
                  <a:schemeClr val="tx2"/>
                </a:solidFill>
                <a:latin typeface="Gill Sans MT" panose="020B0502020104020203" pitchFamily="34" charset="0"/>
              </a:endParaRPr>
            </a:p>
          </p:txBody>
        </p:sp>
      </p:grpSp>
      <p:grpSp>
        <p:nvGrpSpPr>
          <p:cNvPr id="22" name="Group 21">
            <a:extLst>
              <a:ext uri="{FF2B5EF4-FFF2-40B4-BE49-F238E27FC236}">
                <a16:creationId xmlns:a16="http://schemas.microsoft.com/office/drawing/2014/main" id="{3464E386-8990-40D2-A11C-FE3DCCD895B2}"/>
              </a:ext>
            </a:extLst>
          </p:cNvPr>
          <p:cNvGrpSpPr/>
          <p:nvPr/>
        </p:nvGrpSpPr>
        <p:grpSpPr>
          <a:xfrm>
            <a:off x="3117759" y="3753476"/>
            <a:ext cx="2725920" cy="123111"/>
            <a:chOff x="3117759" y="3439771"/>
            <a:chExt cx="2725920" cy="131176"/>
          </a:xfrm>
        </p:grpSpPr>
        <p:sp>
          <p:nvSpPr>
            <p:cNvPr id="348" name="TextBox 347"/>
            <p:cNvSpPr txBox="1">
              <a:spLocks/>
            </p:cNvSpPr>
            <p:nvPr/>
          </p:nvSpPr>
          <p:spPr>
            <a:xfrm>
              <a:off x="3294076" y="3439771"/>
              <a:ext cx="2549603" cy="131176"/>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r>
                <a:rPr lang="es-EC" sz="800" dirty="0">
                  <a:solidFill>
                    <a:srgbClr val="000000"/>
                  </a:solidFill>
                  <a:latin typeface="Gill Sans MT" panose="020B0502020104020203" pitchFamily="34" charset="0"/>
                  <a:cs typeface="Calibri" panose="020F0502020204030204" pitchFamily="34" charset="0"/>
                  <a:sym typeface="Gill Sans MT" panose="020B0502020104020203" pitchFamily="34" charset="0"/>
                </a:rPr>
                <a:t>Hisopos para la toma de muestras nasales</a:t>
              </a:r>
            </a:p>
          </p:txBody>
        </p:sp>
        <p:sp>
          <p:nvSpPr>
            <p:cNvPr id="349" name="Rectangle 348"/>
            <p:cNvSpPr>
              <a:spLocks/>
            </p:cNvSpPr>
            <p:nvPr/>
          </p:nvSpPr>
          <p:spPr>
            <a:xfrm>
              <a:off x="3117759" y="3467278"/>
              <a:ext cx="91428" cy="76168"/>
            </a:xfrm>
            <a:prstGeom prst="rect">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a:solidFill>
                  <a:schemeClr val="tx2"/>
                </a:solidFill>
                <a:latin typeface="Gill Sans MT" panose="020B0502020104020203" pitchFamily="34" charset="0"/>
              </a:endParaRPr>
            </a:p>
          </p:txBody>
        </p:sp>
      </p:grpSp>
      <p:cxnSp>
        <p:nvCxnSpPr>
          <p:cNvPr id="351" name="Straight Connector 350"/>
          <p:cNvCxnSpPr>
            <a:cxnSpLocks/>
          </p:cNvCxnSpPr>
          <p:nvPr/>
        </p:nvCxnSpPr>
        <p:spPr>
          <a:xfrm>
            <a:off x="3125632" y="3704666"/>
            <a:ext cx="2725919" cy="0"/>
          </a:xfrm>
          <a:prstGeom prst="line">
            <a:avLst/>
          </a:prstGeom>
          <a:ln w="3175">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DBAA12EF-7FF3-4667-83DF-AE6867D6A5C7}"/>
              </a:ext>
            </a:extLst>
          </p:cNvPr>
          <p:cNvGrpSpPr/>
          <p:nvPr/>
        </p:nvGrpSpPr>
        <p:grpSpPr>
          <a:xfrm>
            <a:off x="3117759" y="3933932"/>
            <a:ext cx="2725920" cy="246221"/>
            <a:chOff x="3117759" y="3591425"/>
            <a:chExt cx="2725920" cy="262351"/>
          </a:xfrm>
        </p:grpSpPr>
        <p:sp>
          <p:nvSpPr>
            <p:cNvPr id="381" name="TextBox 380"/>
            <p:cNvSpPr txBox="1">
              <a:spLocks/>
            </p:cNvSpPr>
            <p:nvPr/>
          </p:nvSpPr>
          <p:spPr>
            <a:xfrm>
              <a:off x="3294076" y="3591425"/>
              <a:ext cx="2549603" cy="262351"/>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r>
                <a:rPr lang="es-EC" sz="800" dirty="0">
                  <a:latin typeface="Gill Sans MT" panose="020B0502020104020203" pitchFamily="34" charset="0"/>
                  <a:cs typeface="Calibri" panose="020F0502020204030204" pitchFamily="34" charset="0"/>
                  <a:sym typeface="Gill Sans MT" panose="020B0502020104020203" pitchFamily="34" charset="0"/>
                </a:rPr>
                <a:t>Jeringas: 0.5 ml autodestrucción (AD) y 5 ml para prevención de </a:t>
              </a:r>
              <a:r>
                <a:rPr lang="es-EC" sz="800" dirty="0" err="1">
                  <a:latin typeface="Gill Sans MT" panose="020B0502020104020203" pitchFamily="34" charset="0"/>
                  <a:cs typeface="Calibri" panose="020F0502020204030204" pitchFamily="34" charset="0"/>
                  <a:sym typeface="Gill Sans MT" panose="020B0502020104020203" pitchFamily="34" charset="0"/>
                </a:rPr>
                <a:t>reuso</a:t>
              </a:r>
              <a:r>
                <a:rPr lang="es-EC" sz="800" dirty="0">
                  <a:latin typeface="Gill Sans MT" panose="020B0502020104020203" pitchFamily="34" charset="0"/>
                  <a:cs typeface="Calibri" panose="020F0502020204030204" pitchFamily="34" charset="0"/>
                  <a:sym typeface="Gill Sans MT" panose="020B0502020104020203" pitchFamily="34" charset="0"/>
                </a:rPr>
                <a:t> (RUP) </a:t>
              </a:r>
            </a:p>
          </p:txBody>
        </p:sp>
        <p:sp>
          <p:nvSpPr>
            <p:cNvPr id="382" name="Rectangle 381"/>
            <p:cNvSpPr>
              <a:spLocks/>
            </p:cNvSpPr>
            <p:nvPr/>
          </p:nvSpPr>
          <p:spPr>
            <a:xfrm>
              <a:off x="3117759" y="3661864"/>
              <a:ext cx="91428" cy="76168"/>
            </a:xfrm>
            <a:prstGeom prst="rect">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a:solidFill>
                  <a:schemeClr val="tx2"/>
                </a:solidFill>
                <a:latin typeface="Gill Sans MT" panose="020B0502020104020203" pitchFamily="34" charset="0"/>
              </a:endParaRPr>
            </a:p>
          </p:txBody>
        </p:sp>
      </p:grpSp>
      <p:cxnSp>
        <p:nvCxnSpPr>
          <p:cNvPr id="383" name="Straight Connector 382"/>
          <p:cNvCxnSpPr>
            <a:cxnSpLocks/>
          </p:cNvCxnSpPr>
          <p:nvPr/>
        </p:nvCxnSpPr>
        <p:spPr>
          <a:xfrm>
            <a:off x="3125632" y="3925412"/>
            <a:ext cx="2725919" cy="0"/>
          </a:xfrm>
          <a:prstGeom prst="line">
            <a:avLst/>
          </a:prstGeom>
          <a:ln w="317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4295A9BD-577A-4979-A72F-881D27D243D0}"/>
              </a:ext>
            </a:extLst>
          </p:cNvPr>
          <p:cNvCxnSpPr>
            <a:cxnSpLocks/>
          </p:cNvCxnSpPr>
          <p:nvPr/>
        </p:nvCxnSpPr>
        <p:spPr>
          <a:xfrm>
            <a:off x="141996" y="3036143"/>
            <a:ext cx="2705049" cy="0"/>
          </a:xfrm>
          <a:prstGeom prst="line">
            <a:avLst/>
          </a:prstGeom>
          <a:ln w="3175">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C5BC7C4C-3116-4444-9755-482BA231A0DF}"/>
              </a:ext>
            </a:extLst>
          </p:cNvPr>
          <p:cNvCxnSpPr>
            <a:cxnSpLocks/>
          </p:cNvCxnSpPr>
          <p:nvPr/>
        </p:nvCxnSpPr>
        <p:spPr>
          <a:xfrm>
            <a:off x="3117760" y="2831524"/>
            <a:ext cx="2725919" cy="0"/>
          </a:xfrm>
          <a:prstGeom prst="line">
            <a:avLst/>
          </a:prstGeom>
          <a:ln w="3175">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F003FE15-B172-4404-82B8-48B3E5AFB0D8}"/>
              </a:ext>
            </a:extLst>
          </p:cNvPr>
          <p:cNvCxnSpPr>
            <a:cxnSpLocks/>
          </p:cNvCxnSpPr>
          <p:nvPr/>
        </p:nvCxnSpPr>
        <p:spPr>
          <a:xfrm>
            <a:off x="3117760" y="4408650"/>
            <a:ext cx="2725919" cy="0"/>
          </a:xfrm>
          <a:prstGeom prst="line">
            <a:avLst/>
          </a:prstGeom>
          <a:ln w="3175">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339" name="Straight Connector 338"/>
          <p:cNvCxnSpPr>
            <a:cxnSpLocks/>
          </p:cNvCxnSpPr>
          <p:nvPr/>
        </p:nvCxnSpPr>
        <p:spPr>
          <a:xfrm>
            <a:off x="6106520" y="3043268"/>
            <a:ext cx="2724923" cy="0"/>
          </a:xfrm>
          <a:prstGeom prst="line">
            <a:avLst/>
          </a:prstGeom>
          <a:ln w="3175">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ABF2CA3B-47F1-428A-B26E-90F94BEBABBF}"/>
              </a:ext>
            </a:extLst>
          </p:cNvPr>
          <p:cNvGrpSpPr/>
          <p:nvPr/>
        </p:nvGrpSpPr>
        <p:grpSpPr>
          <a:xfrm>
            <a:off x="6106520" y="2896030"/>
            <a:ext cx="2725916" cy="123111"/>
            <a:chOff x="6106522" y="2553718"/>
            <a:chExt cx="2725916" cy="131176"/>
          </a:xfrm>
        </p:grpSpPr>
        <p:sp>
          <p:nvSpPr>
            <p:cNvPr id="360" name="Rectangle 359"/>
            <p:cNvSpPr>
              <a:spLocks/>
            </p:cNvSpPr>
            <p:nvPr/>
          </p:nvSpPr>
          <p:spPr>
            <a:xfrm>
              <a:off x="6106522" y="2581224"/>
              <a:ext cx="91428" cy="76168"/>
            </a:xfrm>
            <a:prstGeom prst="rect">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a:solidFill>
                  <a:schemeClr val="tx2"/>
                </a:solidFill>
                <a:latin typeface="Gill Sans MT" panose="020B0502020104020203" pitchFamily="34" charset="0"/>
              </a:endParaRPr>
            </a:p>
          </p:txBody>
        </p:sp>
        <p:sp>
          <p:nvSpPr>
            <p:cNvPr id="361" name="TextBox 360"/>
            <p:cNvSpPr txBox="1">
              <a:spLocks/>
            </p:cNvSpPr>
            <p:nvPr/>
          </p:nvSpPr>
          <p:spPr>
            <a:xfrm>
              <a:off x="6282835" y="2553718"/>
              <a:ext cx="2549603" cy="131176"/>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pPr defTabSz="895246" fontAlgn="auto">
                <a:spcBef>
                  <a:spcPts val="0"/>
                </a:spcBef>
                <a:spcAft>
                  <a:spcPts val="0"/>
                </a:spcAft>
                <a:buClr>
                  <a:srgbClr val="002F6C"/>
                </a:buClr>
              </a:pPr>
              <a:r>
                <a:rPr lang="es-EC" sz="800" dirty="0">
                  <a:latin typeface="Gill Sans MT" panose="020B0502020104020203" pitchFamily="34" charset="0"/>
                  <a:cs typeface="Calibri" panose="020F0502020204030204" pitchFamily="34" charset="0"/>
                  <a:sym typeface="Gill Sans MT" panose="020B0502020104020203" pitchFamily="34" charset="0"/>
                </a:rPr>
                <a:t>Desinfectante con alcohol para manos</a:t>
              </a:r>
              <a:endParaRPr lang="en-US" sz="800" dirty="0">
                <a:solidFill>
                  <a:schemeClr val="tx2"/>
                </a:solidFill>
                <a:latin typeface="Gill Sans MT" panose="020B0502020104020203" pitchFamily="34" charset="0"/>
              </a:endParaRPr>
            </a:p>
          </p:txBody>
        </p:sp>
      </p:grpSp>
      <p:cxnSp>
        <p:nvCxnSpPr>
          <p:cNvPr id="233" name="Straight Connector 232">
            <a:extLst>
              <a:ext uri="{FF2B5EF4-FFF2-40B4-BE49-F238E27FC236}">
                <a16:creationId xmlns:a16="http://schemas.microsoft.com/office/drawing/2014/main" id="{5333E295-B171-45DE-8A31-544CA772E2E4}"/>
              </a:ext>
            </a:extLst>
          </p:cNvPr>
          <p:cNvCxnSpPr>
            <a:cxnSpLocks/>
          </p:cNvCxnSpPr>
          <p:nvPr/>
        </p:nvCxnSpPr>
        <p:spPr>
          <a:xfrm>
            <a:off x="6106520" y="3330162"/>
            <a:ext cx="2724923" cy="0"/>
          </a:xfrm>
          <a:prstGeom prst="line">
            <a:avLst/>
          </a:prstGeom>
          <a:ln w="3175">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D403B51C-7B4F-4DF8-A868-E94BF9BF74E7}"/>
              </a:ext>
            </a:extLst>
          </p:cNvPr>
          <p:cNvCxnSpPr>
            <a:cxnSpLocks/>
          </p:cNvCxnSpPr>
          <p:nvPr/>
        </p:nvCxnSpPr>
        <p:spPr>
          <a:xfrm>
            <a:off x="141996" y="4184534"/>
            <a:ext cx="2705049" cy="0"/>
          </a:xfrm>
          <a:prstGeom prst="line">
            <a:avLst/>
          </a:prstGeom>
          <a:ln w="3175">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97" name="TextBox 196">
            <a:extLst>
              <a:ext uri="{FF2B5EF4-FFF2-40B4-BE49-F238E27FC236}">
                <a16:creationId xmlns:a16="http://schemas.microsoft.com/office/drawing/2014/main" id="{207B9290-EB3D-439D-BDFC-74298BF7D45D}"/>
              </a:ext>
            </a:extLst>
          </p:cNvPr>
          <p:cNvSpPr txBox="1">
            <a:spLocks/>
          </p:cNvSpPr>
          <p:nvPr/>
        </p:nvSpPr>
        <p:spPr>
          <a:xfrm>
            <a:off x="326043" y="3683134"/>
            <a:ext cx="2514693" cy="12311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s-EC" sz="800" dirty="0">
                <a:solidFill>
                  <a:srgbClr val="000000"/>
                </a:solidFill>
                <a:latin typeface="Gill Sans MT" panose="020B0502020104020203" pitchFamily="34" charset="0"/>
                <a:cs typeface="Calibri" panose="020F0502020204030204" pitchFamily="34" charset="0"/>
                <a:sym typeface="Gill Sans MT" panose="020B0502020104020203" pitchFamily="34" charset="0"/>
              </a:rPr>
              <a:t>Sistema móvil, de diagnóstico básico por rayos X</a:t>
            </a:r>
          </a:p>
        </p:txBody>
      </p:sp>
      <p:sp>
        <p:nvSpPr>
          <p:cNvPr id="200" name="Rectangle 199">
            <a:extLst>
              <a:ext uri="{FF2B5EF4-FFF2-40B4-BE49-F238E27FC236}">
                <a16:creationId xmlns:a16="http://schemas.microsoft.com/office/drawing/2014/main" id="{109B2FAF-5F36-4295-9ABC-1D97D7315642}"/>
              </a:ext>
            </a:extLst>
          </p:cNvPr>
          <p:cNvSpPr>
            <a:spLocks/>
          </p:cNvSpPr>
          <p:nvPr/>
        </p:nvSpPr>
        <p:spPr>
          <a:xfrm>
            <a:off x="141996" y="3689506"/>
            <a:ext cx="91550" cy="71485"/>
          </a:xfrm>
          <a:prstGeom prst="rect">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a:solidFill>
                <a:schemeClr val="tx2"/>
              </a:solidFill>
              <a:latin typeface="Gill Sans MT" panose="020B0502020104020203" pitchFamily="34" charset="0"/>
            </a:endParaRPr>
          </a:p>
        </p:txBody>
      </p:sp>
      <p:cxnSp>
        <p:nvCxnSpPr>
          <p:cNvPr id="218" name="Straight Connector 217">
            <a:extLst>
              <a:ext uri="{FF2B5EF4-FFF2-40B4-BE49-F238E27FC236}">
                <a16:creationId xmlns:a16="http://schemas.microsoft.com/office/drawing/2014/main" id="{EF07DCE9-D394-4110-9D6F-AE37F9A490B2}"/>
              </a:ext>
            </a:extLst>
          </p:cNvPr>
          <p:cNvCxnSpPr>
            <a:cxnSpLocks/>
          </p:cNvCxnSpPr>
          <p:nvPr/>
        </p:nvCxnSpPr>
        <p:spPr>
          <a:xfrm>
            <a:off x="148091" y="3666095"/>
            <a:ext cx="2705049" cy="0"/>
          </a:xfrm>
          <a:prstGeom prst="line">
            <a:avLst/>
          </a:prstGeom>
          <a:ln w="3175">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nvGrpSpPr>
          <p:cNvPr id="243" name="Group 242">
            <a:extLst>
              <a:ext uri="{FF2B5EF4-FFF2-40B4-BE49-F238E27FC236}">
                <a16:creationId xmlns:a16="http://schemas.microsoft.com/office/drawing/2014/main" id="{BFAEFB9F-C655-42B3-B806-42884D8D6E6E}"/>
              </a:ext>
            </a:extLst>
          </p:cNvPr>
          <p:cNvGrpSpPr/>
          <p:nvPr/>
        </p:nvGrpSpPr>
        <p:grpSpPr>
          <a:xfrm>
            <a:off x="3112996" y="2633734"/>
            <a:ext cx="2697565" cy="123111"/>
            <a:chOff x="3117759" y="2704869"/>
            <a:chExt cx="2697565" cy="131176"/>
          </a:xfrm>
        </p:grpSpPr>
        <p:sp>
          <p:nvSpPr>
            <p:cNvPr id="244" name="Rectangle 243">
              <a:extLst>
                <a:ext uri="{FF2B5EF4-FFF2-40B4-BE49-F238E27FC236}">
                  <a16:creationId xmlns:a16="http://schemas.microsoft.com/office/drawing/2014/main" id="{BC5CD8F6-6720-4D81-B972-27E2251AEDFB}"/>
                </a:ext>
              </a:extLst>
            </p:cNvPr>
            <p:cNvSpPr>
              <a:spLocks/>
            </p:cNvSpPr>
            <p:nvPr/>
          </p:nvSpPr>
          <p:spPr>
            <a:xfrm>
              <a:off x="3117759" y="2732375"/>
              <a:ext cx="91428" cy="76168"/>
            </a:xfrm>
            <a:prstGeom prst="rect">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a:solidFill>
                  <a:schemeClr val="tx2"/>
                </a:solidFill>
                <a:latin typeface="Gill Sans MT" panose="020B0502020104020203" pitchFamily="34" charset="0"/>
              </a:endParaRPr>
            </a:p>
          </p:txBody>
        </p:sp>
        <p:sp>
          <p:nvSpPr>
            <p:cNvPr id="245" name="TextBox 244">
              <a:extLst>
                <a:ext uri="{FF2B5EF4-FFF2-40B4-BE49-F238E27FC236}">
                  <a16:creationId xmlns:a16="http://schemas.microsoft.com/office/drawing/2014/main" id="{8D7A852F-3418-4FBF-BA9A-6250A8995672}"/>
                </a:ext>
              </a:extLst>
            </p:cNvPr>
            <p:cNvSpPr txBox="1">
              <a:spLocks/>
            </p:cNvSpPr>
            <p:nvPr/>
          </p:nvSpPr>
          <p:spPr>
            <a:xfrm>
              <a:off x="3294076" y="2704869"/>
              <a:ext cx="2521248" cy="131176"/>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r>
                <a:rPr lang="es-EC" sz="800" dirty="0">
                  <a:solidFill>
                    <a:srgbClr val="000000"/>
                  </a:solidFill>
                  <a:latin typeface="Gill Sans MT" panose="020B0502020104020203" pitchFamily="34" charset="0"/>
                  <a:cs typeface="Calibri" panose="020F0502020204030204" pitchFamily="34" charset="0"/>
                  <a:sym typeface="Gill Sans MT" panose="020B0502020104020203" pitchFamily="34" charset="0"/>
                </a:rPr>
                <a:t>Concentradores de oxígeno</a:t>
              </a:r>
              <a:endParaRPr lang="es-EC" sz="800" baseline="30000" dirty="0">
                <a:solidFill>
                  <a:srgbClr val="000000"/>
                </a:solidFill>
                <a:latin typeface="Gill Sans MT" panose="020B0502020104020203" pitchFamily="34" charset="0"/>
                <a:cs typeface="Calibri" panose="020F0502020204030204" pitchFamily="34" charset="0"/>
                <a:sym typeface="Gill Sans MT" panose="020B0502020104020203" pitchFamily="34" charset="0"/>
              </a:endParaRPr>
            </a:p>
          </p:txBody>
        </p:sp>
      </p:grpSp>
      <p:grpSp>
        <p:nvGrpSpPr>
          <p:cNvPr id="246" name="Group 245">
            <a:extLst>
              <a:ext uri="{FF2B5EF4-FFF2-40B4-BE49-F238E27FC236}">
                <a16:creationId xmlns:a16="http://schemas.microsoft.com/office/drawing/2014/main" id="{C9F1AB6F-712F-46CA-B0E8-1FD425054609}"/>
              </a:ext>
            </a:extLst>
          </p:cNvPr>
          <p:cNvGrpSpPr/>
          <p:nvPr/>
        </p:nvGrpSpPr>
        <p:grpSpPr>
          <a:xfrm>
            <a:off x="3112996" y="3101082"/>
            <a:ext cx="2697565" cy="123111"/>
            <a:chOff x="3117759" y="2704869"/>
            <a:chExt cx="2697565" cy="131176"/>
          </a:xfrm>
        </p:grpSpPr>
        <p:sp>
          <p:nvSpPr>
            <p:cNvPr id="247" name="Rectangle 246">
              <a:extLst>
                <a:ext uri="{FF2B5EF4-FFF2-40B4-BE49-F238E27FC236}">
                  <a16:creationId xmlns:a16="http://schemas.microsoft.com/office/drawing/2014/main" id="{33AAC04B-A7AA-4698-8051-3BBE27C08BFD}"/>
                </a:ext>
              </a:extLst>
            </p:cNvPr>
            <p:cNvSpPr>
              <a:spLocks/>
            </p:cNvSpPr>
            <p:nvPr/>
          </p:nvSpPr>
          <p:spPr>
            <a:xfrm>
              <a:off x="3117759" y="2732375"/>
              <a:ext cx="91428" cy="76168"/>
            </a:xfrm>
            <a:prstGeom prst="rect">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a:solidFill>
                  <a:schemeClr val="tx2"/>
                </a:solidFill>
                <a:latin typeface="Gill Sans MT" panose="020B0502020104020203" pitchFamily="34" charset="0"/>
              </a:endParaRPr>
            </a:p>
          </p:txBody>
        </p:sp>
        <p:sp>
          <p:nvSpPr>
            <p:cNvPr id="248" name="TextBox 247">
              <a:extLst>
                <a:ext uri="{FF2B5EF4-FFF2-40B4-BE49-F238E27FC236}">
                  <a16:creationId xmlns:a16="http://schemas.microsoft.com/office/drawing/2014/main" id="{2941A7F3-F487-487A-BD72-28E7E1708DFC}"/>
                </a:ext>
              </a:extLst>
            </p:cNvPr>
            <p:cNvSpPr txBox="1">
              <a:spLocks/>
            </p:cNvSpPr>
            <p:nvPr/>
          </p:nvSpPr>
          <p:spPr>
            <a:xfrm>
              <a:off x="3294076" y="2704869"/>
              <a:ext cx="2521248" cy="131176"/>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r>
                <a:rPr lang="es-EC" sz="800" dirty="0">
                  <a:solidFill>
                    <a:srgbClr val="000000"/>
                  </a:solidFill>
                  <a:latin typeface="Gill Sans MT" panose="020B0502020104020203" pitchFamily="34" charset="0"/>
                  <a:cs typeface="Calibri" panose="020F0502020204030204" pitchFamily="34" charset="0"/>
                  <a:sym typeface="Gill Sans MT" panose="020B0502020104020203" pitchFamily="34" charset="0"/>
                </a:rPr>
                <a:t>Oxímetro de pulso, portátil</a:t>
              </a:r>
              <a:endParaRPr lang="es-EC" sz="800" baseline="30000" dirty="0">
                <a:solidFill>
                  <a:srgbClr val="000000"/>
                </a:solidFill>
                <a:latin typeface="Gill Sans MT" panose="020B0502020104020203" pitchFamily="34" charset="0"/>
                <a:cs typeface="Calibri" panose="020F0502020204030204" pitchFamily="34" charset="0"/>
                <a:sym typeface="Gill Sans MT" panose="020B0502020104020203" pitchFamily="34" charset="0"/>
              </a:endParaRPr>
            </a:p>
          </p:txBody>
        </p:sp>
      </p:grpSp>
      <p:cxnSp>
        <p:nvCxnSpPr>
          <p:cNvPr id="253" name="Straight Connector 252">
            <a:extLst>
              <a:ext uri="{FF2B5EF4-FFF2-40B4-BE49-F238E27FC236}">
                <a16:creationId xmlns:a16="http://schemas.microsoft.com/office/drawing/2014/main" id="{C2FF3D3A-E6F7-426E-A494-B6BB15F4C71A}"/>
              </a:ext>
            </a:extLst>
          </p:cNvPr>
          <p:cNvCxnSpPr>
            <a:cxnSpLocks/>
          </p:cNvCxnSpPr>
          <p:nvPr/>
        </p:nvCxnSpPr>
        <p:spPr>
          <a:xfrm>
            <a:off x="3117760" y="3273016"/>
            <a:ext cx="2725919" cy="0"/>
          </a:xfrm>
          <a:prstGeom prst="line">
            <a:avLst/>
          </a:prstGeom>
          <a:ln w="3175">
            <a:solidFill>
              <a:schemeClr val="accent6"/>
            </a:solidFill>
            <a:prstDash val="solid"/>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5FF791AE-A086-445B-9138-D9242BC7A5CB}"/>
              </a:ext>
            </a:extLst>
          </p:cNvPr>
          <p:cNvCxnSpPr>
            <a:cxnSpLocks/>
          </p:cNvCxnSpPr>
          <p:nvPr/>
        </p:nvCxnSpPr>
        <p:spPr>
          <a:xfrm>
            <a:off x="3117760" y="3052270"/>
            <a:ext cx="2725919" cy="0"/>
          </a:xfrm>
          <a:prstGeom prst="line">
            <a:avLst/>
          </a:prstGeom>
          <a:ln w="3175">
            <a:solidFill>
              <a:schemeClr val="accent6"/>
            </a:solidFill>
            <a:prstDash val="solid"/>
          </a:ln>
        </p:spPr>
        <p:style>
          <a:lnRef idx="1">
            <a:schemeClr val="accent1"/>
          </a:lnRef>
          <a:fillRef idx="0">
            <a:schemeClr val="accent1"/>
          </a:fillRef>
          <a:effectRef idx="0">
            <a:schemeClr val="accent1"/>
          </a:effectRef>
          <a:fontRef idx="minor">
            <a:schemeClr val="tx1"/>
          </a:fontRef>
        </p:style>
      </p:cxnSp>
      <p:sp>
        <p:nvSpPr>
          <p:cNvPr id="256" name="Rectangle 255">
            <a:extLst>
              <a:ext uri="{FF2B5EF4-FFF2-40B4-BE49-F238E27FC236}">
                <a16:creationId xmlns:a16="http://schemas.microsoft.com/office/drawing/2014/main" id="{8948C7E3-716B-4C3B-96ED-DF585CE9484D}"/>
              </a:ext>
            </a:extLst>
          </p:cNvPr>
          <p:cNvSpPr>
            <a:spLocks/>
          </p:cNvSpPr>
          <p:nvPr/>
        </p:nvSpPr>
        <p:spPr>
          <a:xfrm>
            <a:off x="3117759" y="5095581"/>
            <a:ext cx="91428" cy="71485"/>
          </a:xfrm>
          <a:prstGeom prst="rect">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a:solidFill>
                <a:schemeClr val="tx2"/>
              </a:solidFill>
              <a:latin typeface="Gill Sans MT" panose="020B0502020104020203" pitchFamily="34" charset="0"/>
            </a:endParaRPr>
          </a:p>
        </p:txBody>
      </p:sp>
      <p:cxnSp>
        <p:nvCxnSpPr>
          <p:cNvPr id="258" name="Straight Connector 257">
            <a:extLst>
              <a:ext uri="{FF2B5EF4-FFF2-40B4-BE49-F238E27FC236}">
                <a16:creationId xmlns:a16="http://schemas.microsoft.com/office/drawing/2014/main" id="{58E968AF-41EE-47F8-96C3-AAFDB7B3A4EB}"/>
              </a:ext>
            </a:extLst>
          </p:cNvPr>
          <p:cNvCxnSpPr>
            <a:cxnSpLocks/>
          </p:cNvCxnSpPr>
          <p:nvPr/>
        </p:nvCxnSpPr>
        <p:spPr>
          <a:xfrm>
            <a:off x="3117760" y="5020958"/>
            <a:ext cx="2725919" cy="0"/>
          </a:xfrm>
          <a:prstGeom prst="line">
            <a:avLst/>
          </a:prstGeom>
          <a:ln w="317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1DFCEA3F-54F5-43EE-B4C7-AD7050A1A6F3}"/>
              </a:ext>
            </a:extLst>
          </p:cNvPr>
          <p:cNvCxnSpPr>
            <a:cxnSpLocks/>
          </p:cNvCxnSpPr>
          <p:nvPr/>
        </p:nvCxnSpPr>
        <p:spPr>
          <a:xfrm>
            <a:off x="3117760" y="5241704"/>
            <a:ext cx="2725919" cy="0"/>
          </a:xfrm>
          <a:prstGeom prst="line">
            <a:avLst/>
          </a:prstGeom>
          <a:ln w="3175">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61" name="Rectangle 260">
            <a:extLst>
              <a:ext uri="{FF2B5EF4-FFF2-40B4-BE49-F238E27FC236}">
                <a16:creationId xmlns:a16="http://schemas.microsoft.com/office/drawing/2014/main" id="{71A8D738-C92B-481B-8A12-A00E211D389C}"/>
              </a:ext>
            </a:extLst>
          </p:cNvPr>
          <p:cNvSpPr>
            <a:spLocks/>
          </p:cNvSpPr>
          <p:nvPr/>
        </p:nvSpPr>
        <p:spPr>
          <a:xfrm>
            <a:off x="3117759" y="5316327"/>
            <a:ext cx="91428" cy="71485"/>
          </a:xfrm>
          <a:prstGeom prst="rect">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a:solidFill>
                <a:schemeClr val="tx2"/>
              </a:solidFill>
              <a:latin typeface="Gill Sans MT" panose="020B0502020104020203" pitchFamily="34" charset="0"/>
            </a:endParaRPr>
          </a:p>
        </p:txBody>
      </p:sp>
      <p:cxnSp>
        <p:nvCxnSpPr>
          <p:cNvPr id="263" name="Straight Connector 262">
            <a:extLst>
              <a:ext uri="{FF2B5EF4-FFF2-40B4-BE49-F238E27FC236}">
                <a16:creationId xmlns:a16="http://schemas.microsoft.com/office/drawing/2014/main" id="{275B8BFE-EDEF-4FB3-BB0D-76DCD7D1F90D}"/>
              </a:ext>
            </a:extLst>
          </p:cNvPr>
          <p:cNvCxnSpPr>
            <a:cxnSpLocks/>
          </p:cNvCxnSpPr>
          <p:nvPr/>
        </p:nvCxnSpPr>
        <p:spPr>
          <a:xfrm>
            <a:off x="3117760" y="5639208"/>
            <a:ext cx="2725919" cy="0"/>
          </a:xfrm>
          <a:prstGeom prst="line">
            <a:avLst/>
          </a:prstGeom>
          <a:ln w="3175">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65" name="Rectangle 264">
            <a:extLst>
              <a:ext uri="{FF2B5EF4-FFF2-40B4-BE49-F238E27FC236}">
                <a16:creationId xmlns:a16="http://schemas.microsoft.com/office/drawing/2014/main" id="{B5AE613D-0F47-4E93-A62B-1DA7C360045B}"/>
              </a:ext>
            </a:extLst>
          </p:cNvPr>
          <p:cNvSpPr>
            <a:spLocks/>
          </p:cNvSpPr>
          <p:nvPr/>
        </p:nvSpPr>
        <p:spPr>
          <a:xfrm>
            <a:off x="3117759" y="5713831"/>
            <a:ext cx="91428" cy="71485"/>
          </a:xfrm>
          <a:prstGeom prst="rect">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a:solidFill>
                <a:schemeClr val="tx2"/>
              </a:solidFill>
              <a:latin typeface="Gill Sans MT" panose="020B0502020104020203" pitchFamily="34" charset="0"/>
            </a:endParaRPr>
          </a:p>
        </p:txBody>
      </p:sp>
      <p:sp>
        <p:nvSpPr>
          <p:cNvPr id="266" name="TextBox 265">
            <a:extLst>
              <a:ext uri="{FF2B5EF4-FFF2-40B4-BE49-F238E27FC236}">
                <a16:creationId xmlns:a16="http://schemas.microsoft.com/office/drawing/2014/main" id="{1B1DE657-5EA8-414E-AF23-08550CED34B9}"/>
              </a:ext>
            </a:extLst>
          </p:cNvPr>
          <p:cNvSpPr txBox="1">
            <a:spLocks/>
          </p:cNvSpPr>
          <p:nvPr/>
        </p:nvSpPr>
        <p:spPr>
          <a:xfrm>
            <a:off x="3294076" y="5688012"/>
            <a:ext cx="2549603" cy="123111"/>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r>
              <a:rPr lang="es-EC" sz="800" dirty="0">
                <a:latin typeface="Gill Sans MT" panose="020B0502020104020203" pitchFamily="34" charset="0"/>
                <a:cs typeface="Calibri" panose="020F0502020204030204" pitchFamily="34" charset="0"/>
                <a:sym typeface="Gill Sans MT" panose="020B0502020104020203" pitchFamily="34" charset="0"/>
              </a:rPr>
              <a:t>Caja de seguridad para jeringas/agujas utilizadas</a:t>
            </a:r>
          </a:p>
        </p:txBody>
      </p:sp>
      <p:cxnSp>
        <p:nvCxnSpPr>
          <p:cNvPr id="267" name="Straight Connector 266">
            <a:extLst>
              <a:ext uri="{FF2B5EF4-FFF2-40B4-BE49-F238E27FC236}">
                <a16:creationId xmlns:a16="http://schemas.microsoft.com/office/drawing/2014/main" id="{8E24AB91-DAD1-4FB6-AA5A-8736278168CB}"/>
              </a:ext>
            </a:extLst>
          </p:cNvPr>
          <p:cNvCxnSpPr>
            <a:cxnSpLocks/>
          </p:cNvCxnSpPr>
          <p:nvPr/>
        </p:nvCxnSpPr>
        <p:spPr>
          <a:xfrm>
            <a:off x="3117760" y="5859955"/>
            <a:ext cx="2725919" cy="0"/>
          </a:xfrm>
          <a:prstGeom prst="line">
            <a:avLst/>
          </a:prstGeom>
          <a:ln w="317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1D412E5F-86AF-434B-98E5-B2405C91F90E}"/>
              </a:ext>
            </a:extLst>
          </p:cNvPr>
          <p:cNvCxnSpPr>
            <a:cxnSpLocks/>
          </p:cNvCxnSpPr>
          <p:nvPr/>
        </p:nvCxnSpPr>
        <p:spPr>
          <a:xfrm>
            <a:off x="141996" y="4385818"/>
            <a:ext cx="2705049" cy="0"/>
          </a:xfrm>
          <a:prstGeom prst="line">
            <a:avLst/>
          </a:prstGeom>
          <a:ln w="3175">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nvGrpSpPr>
          <p:cNvPr id="189" name="Group 188">
            <a:extLst>
              <a:ext uri="{FF2B5EF4-FFF2-40B4-BE49-F238E27FC236}">
                <a16:creationId xmlns:a16="http://schemas.microsoft.com/office/drawing/2014/main" id="{74AFFF8A-2A8E-4219-BA7C-0C625AAB6818}"/>
              </a:ext>
            </a:extLst>
          </p:cNvPr>
          <p:cNvGrpSpPr/>
          <p:nvPr/>
        </p:nvGrpSpPr>
        <p:grpSpPr>
          <a:xfrm>
            <a:off x="141996" y="4963875"/>
            <a:ext cx="2705049" cy="123111"/>
            <a:chOff x="141996" y="4972378"/>
            <a:chExt cx="2705049" cy="131176"/>
          </a:xfrm>
        </p:grpSpPr>
        <p:sp>
          <p:nvSpPr>
            <p:cNvPr id="190" name="TextBox 189">
              <a:extLst>
                <a:ext uri="{FF2B5EF4-FFF2-40B4-BE49-F238E27FC236}">
                  <a16:creationId xmlns:a16="http://schemas.microsoft.com/office/drawing/2014/main" id="{5B5979CF-F8A7-4567-BD33-19FB6EEFD935}"/>
                </a:ext>
              </a:extLst>
            </p:cNvPr>
            <p:cNvSpPr txBox="1">
              <a:spLocks/>
            </p:cNvSpPr>
            <p:nvPr/>
          </p:nvSpPr>
          <p:spPr>
            <a:xfrm>
              <a:off x="326043" y="4972378"/>
              <a:ext cx="2521002" cy="131176"/>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s-EC" sz="800" dirty="0">
                  <a:latin typeface="Gill Sans MT" panose="020B0502020104020203" pitchFamily="34" charset="0"/>
                  <a:cs typeface="Calibri" panose="020F0502020204030204" pitchFamily="34" charset="0"/>
                  <a:sym typeface="Gill Sans MT" panose="020B0502020104020203" pitchFamily="34" charset="0"/>
                </a:rPr>
                <a:t>Máscaras quirúrgicas</a:t>
              </a:r>
            </a:p>
          </p:txBody>
        </p:sp>
        <p:sp>
          <p:nvSpPr>
            <p:cNvPr id="191" name="Rectangle 190">
              <a:extLst>
                <a:ext uri="{FF2B5EF4-FFF2-40B4-BE49-F238E27FC236}">
                  <a16:creationId xmlns:a16="http://schemas.microsoft.com/office/drawing/2014/main" id="{4678EA51-0B15-4AC1-8FD6-780DFF105DBC}"/>
                </a:ext>
              </a:extLst>
            </p:cNvPr>
            <p:cNvSpPr>
              <a:spLocks/>
            </p:cNvSpPr>
            <p:nvPr/>
          </p:nvSpPr>
          <p:spPr>
            <a:xfrm>
              <a:off x="141996" y="4979161"/>
              <a:ext cx="91550" cy="76168"/>
            </a:xfrm>
            <a:prstGeom prst="rect">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a:solidFill>
                  <a:schemeClr val="tx2"/>
                </a:solidFill>
                <a:latin typeface="Gill Sans MT" panose="020B0502020104020203" pitchFamily="34" charset="0"/>
              </a:endParaRPr>
            </a:p>
          </p:txBody>
        </p:sp>
      </p:grpSp>
      <p:cxnSp>
        <p:nvCxnSpPr>
          <p:cNvPr id="192" name="Straight Connector 191">
            <a:extLst>
              <a:ext uri="{FF2B5EF4-FFF2-40B4-BE49-F238E27FC236}">
                <a16:creationId xmlns:a16="http://schemas.microsoft.com/office/drawing/2014/main" id="{6020AF99-99EB-4FA5-AE51-7EA8276519B6}"/>
              </a:ext>
            </a:extLst>
          </p:cNvPr>
          <p:cNvCxnSpPr>
            <a:cxnSpLocks/>
          </p:cNvCxnSpPr>
          <p:nvPr/>
        </p:nvCxnSpPr>
        <p:spPr>
          <a:xfrm>
            <a:off x="141996" y="4683254"/>
            <a:ext cx="2705049" cy="0"/>
          </a:xfrm>
          <a:prstGeom prst="line">
            <a:avLst/>
          </a:prstGeom>
          <a:ln w="317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50F3BC33-FEE9-47F9-9537-81C92F3AC864}"/>
              </a:ext>
            </a:extLst>
          </p:cNvPr>
          <p:cNvCxnSpPr>
            <a:cxnSpLocks/>
          </p:cNvCxnSpPr>
          <p:nvPr/>
        </p:nvCxnSpPr>
        <p:spPr>
          <a:xfrm>
            <a:off x="141996" y="5335028"/>
            <a:ext cx="2705049" cy="0"/>
          </a:xfrm>
          <a:prstGeom prst="line">
            <a:avLst/>
          </a:prstGeom>
          <a:ln w="3175">
            <a:solidFill>
              <a:schemeClr val="accent6"/>
            </a:solidFill>
            <a:prstDash val="solid"/>
          </a:ln>
        </p:spPr>
        <p:style>
          <a:lnRef idx="1">
            <a:schemeClr val="accent1"/>
          </a:lnRef>
          <a:fillRef idx="0">
            <a:schemeClr val="accent1"/>
          </a:fillRef>
          <a:effectRef idx="0">
            <a:schemeClr val="accent1"/>
          </a:effectRef>
          <a:fontRef idx="minor">
            <a:schemeClr val="tx1"/>
          </a:fontRef>
        </p:style>
      </p:cxnSp>
      <p:grpSp>
        <p:nvGrpSpPr>
          <p:cNvPr id="138" name="Group 137">
            <a:extLst>
              <a:ext uri="{FF2B5EF4-FFF2-40B4-BE49-F238E27FC236}">
                <a16:creationId xmlns:a16="http://schemas.microsoft.com/office/drawing/2014/main" id="{5ED7F7E7-8EA3-4518-95E0-3EFD20B809A5}"/>
              </a:ext>
            </a:extLst>
          </p:cNvPr>
          <p:cNvGrpSpPr/>
          <p:nvPr/>
        </p:nvGrpSpPr>
        <p:grpSpPr>
          <a:xfrm>
            <a:off x="141996" y="5176603"/>
            <a:ext cx="2765275" cy="123111"/>
            <a:chOff x="141996" y="4972371"/>
            <a:chExt cx="2765275" cy="131176"/>
          </a:xfrm>
        </p:grpSpPr>
        <p:sp>
          <p:nvSpPr>
            <p:cNvPr id="140" name="TextBox 139">
              <a:extLst>
                <a:ext uri="{FF2B5EF4-FFF2-40B4-BE49-F238E27FC236}">
                  <a16:creationId xmlns:a16="http://schemas.microsoft.com/office/drawing/2014/main" id="{72037B2E-C386-4DD0-B318-DECD8307DD70}"/>
                </a:ext>
              </a:extLst>
            </p:cNvPr>
            <p:cNvSpPr txBox="1">
              <a:spLocks/>
            </p:cNvSpPr>
            <p:nvPr/>
          </p:nvSpPr>
          <p:spPr>
            <a:xfrm>
              <a:off x="326043" y="4972371"/>
              <a:ext cx="2581228" cy="131176"/>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s-EC" sz="800" dirty="0">
                  <a:latin typeface="Gill Sans MT" panose="020B0502020104020203" pitchFamily="34" charset="0"/>
                  <a:cs typeface="Calibri" panose="020F0502020204030204" pitchFamily="34" charset="0"/>
                  <a:sym typeface="Gill Sans MT" panose="020B0502020104020203" pitchFamily="34" charset="0"/>
                </a:rPr>
                <a:t>Ventiladores con fuente de alimentación portátil y de respaldo</a:t>
              </a:r>
            </a:p>
          </p:txBody>
        </p:sp>
        <p:sp>
          <p:nvSpPr>
            <p:cNvPr id="141" name="Rectangle 140">
              <a:extLst>
                <a:ext uri="{FF2B5EF4-FFF2-40B4-BE49-F238E27FC236}">
                  <a16:creationId xmlns:a16="http://schemas.microsoft.com/office/drawing/2014/main" id="{54706904-D3F4-4BD7-97DE-BB1D4E8C638E}"/>
                </a:ext>
              </a:extLst>
            </p:cNvPr>
            <p:cNvSpPr>
              <a:spLocks/>
            </p:cNvSpPr>
            <p:nvPr/>
          </p:nvSpPr>
          <p:spPr>
            <a:xfrm>
              <a:off x="141996" y="4979161"/>
              <a:ext cx="91550" cy="76168"/>
            </a:xfrm>
            <a:prstGeom prst="rect">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a:solidFill>
                  <a:schemeClr val="tx2"/>
                </a:solidFill>
                <a:latin typeface="Gill Sans MT" panose="020B0502020104020203" pitchFamily="34" charset="0"/>
              </a:endParaRPr>
            </a:p>
          </p:txBody>
        </p:sp>
      </p:grpSp>
      <p:grpSp>
        <p:nvGrpSpPr>
          <p:cNvPr id="142" name="Group 141">
            <a:extLst>
              <a:ext uri="{FF2B5EF4-FFF2-40B4-BE49-F238E27FC236}">
                <a16:creationId xmlns:a16="http://schemas.microsoft.com/office/drawing/2014/main" id="{CE469612-D493-421F-9238-60C37E57C200}"/>
              </a:ext>
            </a:extLst>
          </p:cNvPr>
          <p:cNvGrpSpPr/>
          <p:nvPr/>
        </p:nvGrpSpPr>
        <p:grpSpPr>
          <a:xfrm>
            <a:off x="135687" y="5564221"/>
            <a:ext cx="2705049" cy="123111"/>
            <a:chOff x="141996" y="5348013"/>
            <a:chExt cx="2705049" cy="131176"/>
          </a:xfrm>
        </p:grpSpPr>
        <p:sp>
          <p:nvSpPr>
            <p:cNvPr id="143" name="Rectangle 142">
              <a:extLst>
                <a:ext uri="{FF2B5EF4-FFF2-40B4-BE49-F238E27FC236}">
                  <a16:creationId xmlns:a16="http://schemas.microsoft.com/office/drawing/2014/main" id="{3DB9B17C-1F09-4189-8598-42BA4220B007}"/>
                </a:ext>
              </a:extLst>
            </p:cNvPr>
            <p:cNvSpPr>
              <a:spLocks/>
            </p:cNvSpPr>
            <p:nvPr/>
          </p:nvSpPr>
          <p:spPr>
            <a:xfrm>
              <a:off x="141996" y="5375524"/>
              <a:ext cx="91428" cy="76168"/>
            </a:xfrm>
            <a:prstGeom prst="rect">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a:solidFill>
                  <a:schemeClr val="tx2"/>
                </a:solidFill>
                <a:latin typeface="Gill Sans MT" panose="020B0502020104020203" pitchFamily="34" charset="0"/>
              </a:endParaRPr>
            </a:p>
          </p:txBody>
        </p:sp>
        <p:sp>
          <p:nvSpPr>
            <p:cNvPr id="151" name="TextBox 150">
              <a:extLst>
                <a:ext uri="{FF2B5EF4-FFF2-40B4-BE49-F238E27FC236}">
                  <a16:creationId xmlns:a16="http://schemas.microsoft.com/office/drawing/2014/main" id="{D91DC2D6-FFC8-47B5-8167-E4486F9CC7DE}"/>
                </a:ext>
              </a:extLst>
            </p:cNvPr>
            <p:cNvSpPr txBox="1">
              <a:spLocks/>
            </p:cNvSpPr>
            <p:nvPr/>
          </p:nvSpPr>
          <p:spPr>
            <a:xfrm>
              <a:off x="325799" y="5348013"/>
              <a:ext cx="2521246" cy="131176"/>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r>
                <a:rPr lang="es-EC" sz="800" dirty="0">
                  <a:solidFill>
                    <a:srgbClr val="000000"/>
                  </a:solidFill>
                  <a:latin typeface="Gill Sans MT" panose="020B0502020104020203" pitchFamily="34" charset="0"/>
                  <a:cs typeface="Calibri" panose="020F0502020204030204" pitchFamily="34" charset="0"/>
                  <a:sym typeface="Gill Sans MT" panose="020B0502020104020203" pitchFamily="34" charset="0"/>
                </a:rPr>
                <a:t>Termómetro </a:t>
              </a:r>
              <a:r>
                <a:rPr lang="es-EC" sz="800" dirty="0" err="1">
                  <a:solidFill>
                    <a:srgbClr val="000000"/>
                  </a:solidFill>
                  <a:latin typeface="Gill Sans MT" panose="020B0502020104020203" pitchFamily="34" charset="0"/>
                  <a:cs typeface="Calibri" panose="020F0502020204030204" pitchFamily="34" charset="0"/>
                  <a:sym typeface="Gill Sans MT" panose="020B0502020104020203" pitchFamily="34" charset="0"/>
                </a:rPr>
                <a:t>infrarojo</a:t>
              </a:r>
              <a:endParaRPr lang="es-EC" sz="800" baseline="30000" dirty="0">
                <a:solidFill>
                  <a:srgbClr val="000000"/>
                </a:solidFill>
                <a:latin typeface="Gill Sans MT" panose="020B0502020104020203" pitchFamily="34" charset="0"/>
                <a:cs typeface="Calibri" panose="020F0502020204030204" pitchFamily="34" charset="0"/>
                <a:sym typeface="Gill Sans MT" panose="020B0502020104020203" pitchFamily="34" charset="0"/>
              </a:endParaRPr>
            </a:p>
          </p:txBody>
        </p:sp>
      </p:grpSp>
      <p:cxnSp>
        <p:nvCxnSpPr>
          <p:cNvPr id="152" name="Straight Connector 151">
            <a:extLst>
              <a:ext uri="{FF2B5EF4-FFF2-40B4-BE49-F238E27FC236}">
                <a16:creationId xmlns:a16="http://schemas.microsoft.com/office/drawing/2014/main" id="{B51A65A8-0226-4002-BCE7-8EF19DA27EC5}"/>
              </a:ext>
            </a:extLst>
          </p:cNvPr>
          <p:cNvCxnSpPr>
            <a:cxnSpLocks/>
          </p:cNvCxnSpPr>
          <p:nvPr/>
        </p:nvCxnSpPr>
        <p:spPr>
          <a:xfrm>
            <a:off x="135687" y="5726431"/>
            <a:ext cx="2705049" cy="0"/>
          </a:xfrm>
          <a:prstGeom prst="line">
            <a:avLst/>
          </a:prstGeom>
          <a:ln w="3175">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nvGrpSpPr>
          <p:cNvPr id="195" name="Group 194">
            <a:extLst>
              <a:ext uri="{FF2B5EF4-FFF2-40B4-BE49-F238E27FC236}">
                <a16:creationId xmlns:a16="http://schemas.microsoft.com/office/drawing/2014/main" id="{A21C82B0-0930-4F45-892D-BAC7931B51D9}"/>
              </a:ext>
            </a:extLst>
          </p:cNvPr>
          <p:cNvGrpSpPr/>
          <p:nvPr/>
        </p:nvGrpSpPr>
        <p:grpSpPr>
          <a:xfrm>
            <a:off x="3112996" y="3321828"/>
            <a:ext cx="2697565" cy="123111"/>
            <a:chOff x="3117759" y="2704869"/>
            <a:chExt cx="2697565" cy="131176"/>
          </a:xfrm>
        </p:grpSpPr>
        <p:sp>
          <p:nvSpPr>
            <p:cNvPr id="198" name="Rectangle 197">
              <a:extLst>
                <a:ext uri="{FF2B5EF4-FFF2-40B4-BE49-F238E27FC236}">
                  <a16:creationId xmlns:a16="http://schemas.microsoft.com/office/drawing/2014/main" id="{CF80FBF9-19E9-49A3-815F-D6065BD76F32}"/>
                </a:ext>
              </a:extLst>
            </p:cNvPr>
            <p:cNvSpPr>
              <a:spLocks/>
            </p:cNvSpPr>
            <p:nvPr/>
          </p:nvSpPr>
          <p:spPr>
            <a:xfrm>
              <a:off x="3117759" y="2732375"/>
              <a:ext cx="91428" cy="76168"/>
            </a:xfrm>
            <a:prstGeom prst="rect">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a:solidFill>
                  <a:schemeClr val="tx2"/>
                </a:solidFill>
                <a:latin typeface="Gill Sans MT" panose="020B0502020104020203" pitchFamily="34" charset="0"/>
              </a:endParaRPr>
            </a:p>
          </p:txBody>
        </p:sp>
        <p:sp>
          <p:nvSpPr>
            <p:cNvPr id="199" name="TextBox 198">
              <a:extLst>
                <a:ext uri="{FF2B5EF4-FFF2-40B4-BE49-F238E27FC236}">
                  <a16:creationId xmlns:a16="http://schemas.microsoft.com/office/drawing/2014/main" id="{8E969C2B-BEEC-420E-8E55-A80B6317A06C}"/>
                </a:ext>
              </a:extLst>
            </p:cNvPr>
            <p:cNvSpPr txBox="1">
              <a:spLocks/>
            </p:cNvSpPr>
            <p:nvPr/>
          </p:nvSpPr>
          <p:spPr>
            <a:xfrm>
              <a:off x="3294076" y="2704869"/>
              <a:ext cx="2521248" cy="131176"/>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r>
                <a:rPr lang="es-EC" sz="800" dirty="0">
                  <a:solidFill>
                    <a:srgbClr val="000000"/>
                  </a:solidFill>
                  <a:latin typeface="Gill Sans MT" panose="020B0502020104020203" pitchFamily="34" charset="0"/>
                  <a:cs typeface="Calibri" panose="020F0502020204030204" pitchFamily="34" charset="0"/>
                  <a:sym typeface="Gill Sans MT" panose="020B0502020104020203" pitchFamily="34" charset="0"/>
                </a:rPr>
                <a:t>Tubos de recolección de muestras</a:t>
              </a:r>
            </a:p>
          </p:txBody>
        </p:sp>
      </p:grpSp>
      <p:sp>
        <p:nvSpPr>
          <p:cNvPr id="210" name="Rectangle 209">
            <a:extLst>
              <a:ext uri="{FF2B5EF4-FFF2-40B4-BE49-F238E27FC236}">
                <a16:creationId xmlns:a16="http://schemas.microsoft.com/office/drawing/2014/main" id="{3EA139DC-3328-40FD-94F9-CAEA27698878}"/>
              </a:ext>
            </a:extLst>
          </p:cNvPr>
          <p:cNvSpPr>
            <a:spLocks/>
          </p:cNvSpPr>
          <p:nvPr/>
        </p:nvSpPr>
        <p:spPr>
          <a:xfrm>
            <a:off x="3117759" y="5923486"/>
            <a:ext cx="91428" cy="71485"/>
          </a:xfrm>
          <a:prstGeom prst="rect">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a:solidFill>
                <a:schemeClr val="tx2"/>
              </a:solidFill>
              <a:latin typeface="Gill Sans MT" panose="020B0502020104020203" pitchFamily="34" charset="0"/>
            </a:endParaRPr>
          </a:p>
        </p:txBody>
      </p:sp>
      <p:sp>
        <p:nvSpPr>
          <p:cNvPr id="211" name="TextBox 210">
            <a:extLst>
              <a:ext uri="{FF2B5EF4-FFF2-40B4-BE49-F238E27FC236}">
                <a16:creationId xmlns:a16="http://schemas.microsoft.com/office/drawing/2014/main" id="{5E771A4F-0C2A-4E39-AA7E-44DA7C93BDFC}"/>
              </a:ext>
            </a:extLst>
          </p:cNvPr>
          <p:cNvSpPr txBox="1">
            <a:spLocks/>
          </p:cNvSpPr>
          <p:nvPr/>
        </p:nvSpPr>
        <p:spPr>
          <a:xfrm>
            <a:off x="3294076" y="5897667"/>
            <a:ext cx="2549603" cy="123111"/>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pPr defTabSz="895246" fontAlgn="auto">
              <a:spcBef>
                <a:spcPts val="0"/>
              </a:spcBef>
              <a:spcAft>
                <a:spcPts val="0"/>
              </a:spcAft>
              <a:buClr>
                <a:srgbClr val="002F6C"/>
              </a:buClr>
            </a:pPr>
            <a:r>
              <a:rPr lang="es-EC" sz="800" dirty="0">
                <a:latin typeface="Gill Sans MT" panose="020B0502020104020203" pitchFamily="34" charset="0"/>
                <a:cs typeface="Calibri" panose="020F0502020204030204" pitchFamily="34" charset="0"/>
                <a:sym typeface="Gill Sans MT" panose="020B0502020104020203" pitchFamily="34" charset="0"/>
              </a:rPr>
              <a:t>Ropa hospitalaria desechable</a:t>
            </a:r>
          </a:p>
        </p:txBody>
      </p:sp>
      <p:sp>
        <p:nvSpPr>
          <p:cNvPr id="222" name="TextBox 221">
            <a:extLst>
              <a:ext uri="{FF2B5EF4-FFF2-40B4-BE49-F238E27FC236}">
                <a16:creationId xmlns:a16="http://schemas.microsoft.com/office/drawing/2014/main" id="{29BA7FB4-3646-4408-8A2F-AA9A09C9893B}"/>
              </a:ext>
            </a:extLst>
          </p:cNvPr>
          <p:cNvSpPr txBox="1">
            <a:spLocks/>
          </p:cNvSpPr>
          <p:nvPr/>
        </p:nvSpPr>
        <p:spPr>
          <a:xfrm>
            <a:off x="6092231" y="2606168"/>
            <a:ext cx="2724923" cy="283154"/>
          </a:xfrm>
          <a:prstGeom prst="rect">
            <a:avLst/>
          </a:prstGeom>
        </p:spPr>
        <p:txBody>
          <a:bodyPr vert="horz" wrap="square" lIns="18288" tIns="18288" rIns="18288" bIns="18288" rtlCol="0">
            <a:spAutoFit/>
          </a:bodyPr>
          <a:lstStyle>
            <a:defPPr>
              <a:defRPr lang="en-US"/>
            </a:defPPr>
            <a:lvl1pPr marL="0" lvl="0" indent="0" defTabSz="895255" eaLnBrk="1" latinLnBrk="0" hangingPunct="1">
              <a:buClr>
                <a:srgbClr val="002F6C"/>
              </a:buClr>
              <a:buSzPct val="100000"/>
              <a:defRPr sz="700" b="0" baseline="0">
                <a:solidFill>
                  <a:srgbClr val="0067B9"/>
                </a:solidFill>
                <a:latin typeface="Gill Sans MT"/>
              </a:defRPr>
            </a:lvl1pPr>
            <a:lvl2pPr marL="193675" lvl="1" indent="-192088" defTabSz="895350" eaLnBrk="1" latinLnBrk="0" hangingPunct="1">
              <a:buClr>
                <a:schemeClr val="tx2"/>
              </a:buClr>
              <a:buSzPct val="125000"/>
              <a:buFont typeface="Arial" panose="020B0604020202020204" pitchFamily="34" charset="0"/>
              <a:buChar char="•"/>
              <a:defRPr sz="1400" b="0" baseline="0">
                <a:latin typeface="GillSans" panose="020B0602020204020204" pitchFamily="34" charset="0"/>
              </a:defRPr>
            </a:lvl2pPr>
            <a:lvl3pPr marL="457200" lvl="2" indent="-261938" defTabSz="895350" eaLnBrk="1" latinLnBrk="0" hangingPunct="1">
              <a:buClr>
                <a:schemeClr val="tx2"/>
              </a:buClr>
              <a:buSzPct val="120000"/>
              <a:buFont typeface="Arial" charset="0"/>
              <a:buChar char="–"/>
              <a:defRPr sz="1400" b="0" baseline="0">
                <a:latin typeface="GillSans" panose="020B0602020204020204" pitchFamily="34" charset="0"/>
              </a:defRPr>
            </a:lvl3pPr>
            <a:lvl4pPr marL="614363" lvl="3" indent="-155575" defTabSz="895350" eaLnBrk="1" latinLnBrk="0" hangingPunct="1">
              <a:buClr>
                <a:schemeClr val="tx2"/>
              </a:buClr>
              <a:buSzPct val="120000"/>
              <a:buFont typeface="Arial" charset="0"/>
              <a:buChar char="▫"/>
              <a:defRPr sz="1400" b="0" baseline="0">
                <a:latin typeface="GillSans" panose="020B0602020204020204" pitchFamily="34" charset="0"/>
              </a:defRPr>
            </a:lvl4pPr>
            <a:lvl5pPr marL="749808" lvl="4" indent="-130175" defTabSz="895350" eaLnBrk="1" latinLnBrk="0" hangingPunct="1">
              <a:buClr>
                <a:schemeClr val="tx2"/>
              </a:buClr>
              <a:buSzPct val="89000"/>
              <a:buFont typeface="Arial" charset="0"/>
              <a:buChar char="-"/>
              <a:defRPr sz="1400" b="0" baseline="0">
                <a:latin typeface="GillSans" panose="020B0602020204020204" pitchFamily="34" charset="0"/>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065" fontAlgn="auto">
              <a:spcBef>
                <a:spcPts val="0"/>
              </a:spcBef>
              <a:spcAft>
                <a:spcPts val="0"/>
              </a:spcAft>
              <a:defRPr/>
            </a:pPr>
            <a:r>
              <a:rPr lang="es-ES" sz="800" b="1" dirty="0">
                <a:solidFill>
                  <a:schemeClr val="tx2"/>
                </a:solidFill>
                <a:latin typeface="Gill Sans MT" panose="020B0502020104020203" pitchFamily="34" charset="0"/>
              </a:rPr>
              <a:t>GESTIÓN DE DESECHOS DE INSUMOS DE DESINFECCIÓN/ MATERIAL DE RIESGO BIOLÓGICO</a:t>
            </a:r>
          </a:p>
        </p:txBody>
      </p:sp>
      <p:grpSp>
        <p:nvGrpSpPr>
          <p:cNvPr id="223" name="Group 222">
            <a:extLst>
              <a:ext uri="{FF2B5EF4-FFF2-40B4-BE49-F238E27FC236}">
                <a16:creationId xmlns:a16="http://schemas.microsoft.com/office/drawing/2014/main" id="{8AFA283B-CA6E-4542-8967-EC4EDBB2CDDC}"/>
              </a:ext>
            </a:extLst>
          </p:cNvPr>
          <p:cNvGrpSpPr>
            <a:grpSpLocks/>
          </p:cNvGrpSpPr>
          <p:nvPr/>
        </p:nvGrpSpPr>
        <p:grpSpPr>
          <a:xfrm>
            <a:off x="6106520" y="3529413"/>
            <a:ext cx="2724923" cy="123111"/>
            <a:chOff x="6106522" y="3540767"/>
            <a:chExt cx="2693957" cy="131176"/>
          </a:xfrm>
        </p:grpSpPr>
        <p:sp>
          <p:nvSpPr>
            <p:cNvPr id="224" name="TextBox 223">
              <a:extLst>
                <a:ext uri="{FF2B5EF4-FFF2-40B4-BE49-F238E27FC236}">
                  <a16:creationId xmlns:a16="http://schemas.microsoft.com/office/drawing/2014/main" id="{79921CB0-D7BE-41F5-92E0-271AF7D1B6B5}"/>
                </a:ext>
              </a:extLst>
            </p:cNvPr>
            <p:cNvSpPr txBox="1">
              <a:spLocks/>
            </p:cNvSpPr>
            <p:nvPr/>
          </p:nvSpPr>
          <p:spPr>
            <a:xfrm>
              <a:off x="6282836" y="3540767"/>
              <a:ext cx="2517643" cy="131176"/>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246" fontAlgn="auto">
                <a:spcBef>
                  <a:spcPts val="0"/>
                </a:spcBef>
                <a:spcAft>
                  <a:spcPts val="0"/>
                </a:spcAft>
                <a:buClr>
                  <a:srgbClr val="002F6C"/>
                </a:buClr>
              </a:pPr>
              <a:r>
                <a:rPr lang="es-EC" sz="800" dirty="0">
                  <a:latin typeface="Gill Sans MT" panose="020B0502020104020203" pitchFamily="34" charset="0"/>
                  <a:cs typeface="Calibri" panose="020F0502020204030204" pitchFamily="34" charset="0"/>
                  <a:sym typeface="Gill Sans MT" panose="020B0502020104020203" pitchFamily="34" charset="0"/>
                </a:rPr>
                <a:t>Desinfectantes</a:t>
              </a:r>
              <a:endParaRPr lang="en-US" sz="800" dirty="0">
                <a:solidFill>
                  <a:schemeClr val="tx2"/>
                </a:solidFill>
                <a:latin typeface="Gill Sans MT" panose="020B0502020104020203" pitchFamily="34" charset="0"/>
              </a:endParaRPr>
            </a:p>
          </p:txBody>
        </p:sp>
        <p:sp>
          <p:nvSpPr>
            <p:cNvPr id="225" name="Rectangle 224">
              <a:extLst>
                <a:ext uri="{FF2B5EF4-FFF2-40B4-BE49-F238E27FC236}">
                  <a16:creationId xmlns:a16="http://schemas.microsoft.com/office/drawing/2014/main" id="{93A067A9-4F43-4258-B3A1-280148B98B40}"/>
                </a:ext>
              </a:extLst>
            </p:cNvPr>
            <p:cNvSpPr>
              <a:spLocks/>
            </p:cNvSpPr>
            <p:nvPr/>
          </p:nvSpPr>
          <p:spPr>
            <a:xfrm>
              <a:off x="6106522" y="3556549"/>
              <a:ext cx="91428" cy="76168"/>
            </a:xfrm>
            <a:prstGeom prst="rect">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a:solidFill>
                  <a:schemeClr val="tx2"/>
                </a:solidFill>
                <a:latin typeface="Gill Sans MT" panose="020B0502020104020203" pitchFamily="34" charset="0"/>
              </a:endParaRPr>
            </a:p>
          </p:txBody>
        </p:sp>
      </p:grpSp>
      <p:cxnSp>
        <p:nvCxnSpPr>
          <p:cNvPr id="226" name="Straight Connector 225">
            <a:extLst>
              <a:ext uri="{FF2B5EF4-FFF2-40B4-BE49-F238E27FC236}">
                <a16:creationId xmlns:a16="http://schemas.microsoft.com/office/drawing/2014/main" id="{DBB74EE6-EF54-4366-9D6E-763FD74F4C33}"/>
              </a:ext>
            </a:extLst>
          </p:cNvPr>
          <p:cNvCxnSpPr>
            <a:cxnSpLocks/>
          </p:cNvCxnSpPr>
          <p:nvPr/>
        </p:nvCxnSpPr>
        <p:spPr>
          <a:xfrm>
            <a:off x="6106520" y="3501516"/>
            <a:ext cx="2724923" cy="0"/>
          </a:xfrm>
          <a:prstGeom prst="line">
            <a:avLst/>
          </a:prstGeom>
          <a:ln w="3175">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nvGrpSpPr>
          <p:cNvPr id="227" name="Group 226">
            <a:extLst>
              <a:ext uri="{FF2B5EF4-FFF2-40B4-BE49-F238E27FC236}">
                <a16:creationId xmlns:a16="http://schemas.microsoft.com/office/drawing/2014/main" id="{A97AEE57-138A-493A-A2B8-A2099541F5BC}"/>
              </a:ext>
            </a:extLst>
          </p:cNvPr>
          <p:cNvGrpSpPr/>
          <p:nvPr/>
        </p:nvGrpSpPr>
        <p:grpSpPr>
          <a:xfrm>
            <a:off x="6106520" y="3354278"/>
            <a:ext cx="2725916" cy="123111"/>
            <a:chOff x="6106522" y="2553718"/>
            <a:chExt cx="2725916" cy="131176"/>
          </a:xfrm>
        </p:grpSpPr>
        <p:sp>
          <p:nvSpPr>
            <p:cNvPr id="228" name="Rectangle 227">
              <a:extLst>
                <a:ext uri="{FF2B5EF4-FFF2-40B4-BE49-F238E27FC236}">
                  <a16:creationId xmlns:a16="http://schemas.microsoft.com/office/drawing/2014/main" id="{0E209B92-F550-4B65-9B3A-E016E9E21424}"/>
                </a:ext>
              </a:extLst>
            </p:cNvPr>
            <p:cNvSpPr>
              <a:spLocks/>
            </p:cNvSpPr>
            <p:nvPr/>
          </p:nvSpPr>
          <p:spPr>
            <a:xfrm>
              <a:off x="6106522" y="2581224"/>
              <a:ext cx="91428" cy="76168"/>
            </a:xfrm>
            <a:prstGeom prst="rect">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a:solidFill>
                  <a:schemeClr val="tx2"/>
                </a:solidFill>
                <a:latin typeface="Gill Sans MT" panose="020B0502020104020203" pitchFamily="34" charset="0"/>
              </a:endParaRPr>
            </a:p>
          </p:txBody>
        </p:sp>
        <p:sp>
          <p:nvSpPr>
            <p:cNvPr id="229" name="TextBox 228">
              <a:extLst>
                <a:ext uri="{FF2B5EF4-FFF2-40B4-BE49-F238E27FC236}">
                  <a16:creationId xmlns:a16="http://schemas.microsoft.com/office/drawing/2014/main" id="{474A99B8-6091-491D-A7AC-710C770CD4BE}"/>
                </a:ext>
              </a:extLst>
            </p:cNvPr>
            <p:cNvSpPr txBox="1">
              <a:spLocks/>
            </p:cNvSpPr>
            <p:nvPr/>
          </p:nvSpPr>
          <p:spPr>
            <a:xfrm>
              <a:off x="6282835" y="2553718"/>
              <a:ext cx="2549603" cy="131176"/>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r>
                <a:rPr lang="es-EC" sz="800" dirty="0">
                  <a:latin typeface="Gill Sans MT" panose="020B0502020104020203" pitchFamily="34" charset="0"/>
                  <a:cs typeface="Calibri" panose="020F0502020204030204" pitchFamily="34" charset="0"/>
                  <a:sym typeface="Gill Sans MT" panose="020B0502020104020203" pitchFamily="34" charset="0"/>
                </a:rPr>
                <a:t>Bolsas de cadáveres (apto para entierro o cremación) </a:t>
              </a:r>
            </a:p>
          </p:txBody>
        </p:sp>
      </p:grpSp>
      <p:cxnSp>
        <p:nvCxnSpPr>
          <p:cNvPr id="230" name="Straight Connector 229">
            <a:extLst>
              <a:ext uri="{FF2B5EF4-FFF2-40B4-BE49-F238E27FC236}">
                <a16:creationId xmlns:a16="http://schemas.microsoft.com/office/drawing/2014/main" id="{F5B81604-3C22-449E-9FD9-D96EB681BE38}"/>
              </a:ext>
            </a:extLst>
          </p:cNvPr>
          <p:cNvCxnSpPr>
            <a:cxnSpLocks/>
          </p:cNvCxnSpPr>
          <p:nvPr/>
        </p:nvCxnSpPr>
        <p:spPr>
          <a:xfrm>
            <a:off x="6106520" y="4186932"/>
            <a:ext cx="2724923" cy="0"/>
          </a:xfrm>
          <a:prstGeom prst="line">
            <a:avLst/>
          </a:prstGeom>
          <a:ln w="3175">
            <a:solidFill>
              <a:schemeClr val="accent6"/>
            </a:solidFill>
            <a:prstDash val="solid"/>
          </a:ln>
        </p:spPr>
        <p:style>
          <a:lnRef idx="1">
            <a:schemeClr val="accent1"/>
          </a:lnRef>
          <a:fillRef idx="0">
            <a:schemeClr val="accent1"/>
          </a:fillRef>
          <a:effectRef idx="0">
            <a:schemeClr val="accent1"/>
          </a:effectRef>
          <a:fontRef idx="minor">
            <a:schemeClr val="tx1"/>
          </a:fontRef>
        </p:style>
      </p:cxnSp>
      <p:grpSp>
        <p:nvGrpSpPr>
          <p:cNvPr id="270" name="Group 269">
            <a:extLst>
              <a:ext uri="{FF2B5EF4-FFF2-40B4-BE49-F238E27FC236}">
                <a16:creationId xmlns:a16="http://schemas.microsoft.com/office/drawing/2014/main" id="{49DC127B-9D14-492E-BDF2-6C59B174CEC7}"/>
              </a:ext>
            </a:extLst>
          </p:cNvPr>
          <p:cNvGrpSpPr>
            <a:grpSpLocks/>
          </p:cNvGrpSpPr>
          <p:nvPr/>
        </p:nvGrpSpPr>
        <p:grpSpPr>
          <a:xfrm>
            <a:off x="6106520" y="3872121"/>
            <a:ext cx="2724923" cy="123111"/>
            <a:chOff x="6106522" y="3540767"/>
            <a:chExt cx="2693957" cy="131176"/>
          </a:xfrm>
        </p:grpSpPr>
        <p:sp>
          <p:nvSpPr>
            <p:cNvPr id="272" name="TextBox 271">
              <a:extLst>
                <a:ext uri="{FF2B5EF4-FFF2-40B4-BE49-F238E27FC236}">
                  <a16:creationId xmlns:a16="http://schemas.microsoft.com/office/drawing/2014/main" id="{29A68395-32AA-4C44-B814-59E67771E498}"/>
                </a:ext>
              </a:extLst>
            </p:cNvPr>
            <p:cNvSpPr txBox="1">
              <a:spLocks/>
            </p:cNvSpPr>
            <p:nvPr/>
          </p:nvSpPr>
          <p:spPr>
            <a:xfrm>
              <a:off x="6282836" y="3540767"/>
              <a:ext cx="2517643" cy="131176"/>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s-EC" sz="800" dirty="0">
                  <a:latin typeface="Gill Sans MT" panose="020B0502020104020203" pitchFamily="34" charset="0"/>
                  <a:cs typeface="Calibri" panose="020F0502020204030204" pitchFamily="34" charset="0"/>
                  <a:sym typeface="Gill Sans MT" panose="020B0502020104020203" pitchFamily="34" charset="0"/>
                </a:rPr>
                <a:t>Conjunto: mascara, gel y jabón para la población focalizada </a:t>
              </a:r>
            </a:p>
          </p:txBody>
        </p:sp>
        <p:sp>
          <p:nvSpPr>
            <p:cNvPr id="273" name="Rectangle 272">
              <a:extLst>
                <a:ext uri="{FF2B5EF4-FFF2-40B4-BE49-F238E27FC236}">
                  <a16:creationId xmlns:a16="http://schemas.microsoft.com/office/drawing/2014/main" id="{2AE6D787-146B-424A-8164-C5F8A56B1983}"/>
                </a:ext>
              </a:extLst>
            </p:cNvPr>
            <p:cNvSpPr>
              <a:spLocks/>
            </p:cNvSpPr>
            <p:nvPr/>
          </p:nvSpPr>
          <p:spPr>
            <a:xfrm>
              <a:off x="6106522" y="3556549"/>
              <a:ext cx="91428" cy="76168"/>
            </a:xfrm>
            <a:prstGeom prst="rect">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a:solidFill>
                  <a:schemeClr val="tx2"/>
                </a:solidFill>
                <a:latin typeface="Gill Sans MT" panose="020B0502020104020203" pitchFamily="34" charset="0"/>
              </a:endParaRPr>
            </a:p>
          </p:txBody>
        </p:sp>
      </p:grpSp>
      <p:cxnSp>
        <p:nvCxnSpPr>
          <p:cNvPr id="274" name="Straight Connector 273">
            <a:extLst>
              <a:ext uri="{FF2B5EF4-FFF2-40B4-BE49-F238E27FC236}">
                <a16:creationId xmlns:a16="http://schemas.microsoft.com/office/drawing/2014/main" id="{E06FC001-69AC-4162-B06C-2FE5A3FA0101}"/>
              </a:ext>
            </a:extLst>
          </p:cNvPr>
          <p:cNvCxnSpPr>
            <a:cxnSpLocks/>
          </p:cNvCxnSpPr>
          <p:nvPr/>
        </p:nvCxnSpPr>
        <p:spPr>
          <a:xfrm>
            <a:off x="6106520" y="3844224"/>
            <a:ext cx="2724923" cy="0"/>
          </a:xfrm>
          <a:prstGeom prst="line">
            <a:avLst/>
          </a:prstGeom>
          <a:ln w="3175">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nvGrpSpPr>
          <p:cNvPr id="275" name="Group 274">
            <a:extLst>
              <a:ext uri="{FF2B5EF4-FFF2-40B4-BE49-F238E27FC236}">
                <a16:creationId xmlns:a16="http://schemas.microsoft.com/office/drawing/2014/main" id="{56B3150E-6496-408F-8482-641AB80646D6}"/>
              </a:ext>
            </a:extLst>
          </p:cNvPr>
          <p:cNvGrpSpPr/>
          <p:nvPr/>
        </p:nvGrpSpPr>
        <p:grpSpPr>
          <a:xfrm>
            <a:off x="6106520" y="3696986"/>
            <a:ext cx="2725916" cy="123111"/>
            <a:chOff x="6106522" y="2553718"/>
            <a:chExt cx="2725916" cy="131176"/>
          </a:xfrm>
        </p:grpSpPr>
        <p:sp>
          <p:nvSpPr>
            <p:cNvPr id="276" name="Rectangle 275">
              <a:extLst>
                <a:ext uri="{FF2B5EF4-FFF2-40B4-BE49-F238E27FC236}">
                  <a16:creationId xmlns:a16="http://schemas.microsoft.com/office/drawing/2014/main" id="{82BDF2E6-B4C9-4654-8DCC-329EF065AFF8}"/>
                </a:ext>
              </a:extLst>
            </p:cNvPr>
            <p:cNvSpPr>
              <a:spLocks/>
            </p:cNvSpPr>
            <p:nvPr/>
          </p:nvSpPr>
          <p:spPr>
            <a:xfrm>
              <a:off x="6106522" y="2581224"/>
              <a:ext cx="91428" cy="76168"/>
            </a:xfrm>
            <a:prstGeom prst="rect">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a:solidFill>
                  <a:schemeClr val="tx2"/>
                </a:solidFill>
                <a:latin typeface="Gill Sans MT" panose="020B0502020104020203" pitchFamily="34" charset="0"/>
              </a:endParaRPr>
            </a:p>
          </p:txBody>
        </p:sp>
        <p:sp>
          <p:nvSpPr>
            <p:cNvPr id="277" name="TextBox 276">
              <a:extLst>
                <a:ext uri="{FF2B5EF4-FFF2-40B4-BE49-F238E27FC236}">
                  <a16:creationId xmlns:a16="http://schemas.microsoft.com/office/drawing/2014/main" id="{A812C825-0C19-4ABA-8F03-897584903F74}"/>
                </a:ext>
              </a:extLst>
            </p:cNvPr>
            <p:cNvSpPr txBox="1">
              <a:spLocks/>
            </p:cNvSpPr>
            <p:nvPr/>
          </p:nvSpPr>
          <p:spPr>
            <a:xfrm>
              <a:off x="6282835" y="2553718"/>
              <a:ext cx="2549603" cy="131176"/>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r>
                <a:rPr lang="es-EC" sz="800" dirty="0">
                  <a:latin typeface="Gill Sans MT" panose="020B0502020104020203" pitchFamily="34" charset="0"/>
                  <a:cs typeface="Calibri" panose="020F0502020204030204" pitchFamily="34" charset="0"/>
                  <a:sym typeface="Gill Sans MT" panose="020B0502020104020203" pitchFamily="34" charset="0"/>
                </a:rPr>
                <a:t>Jabón quirúrgico</a:t>
              </a:r>
            </a:p>
          </p:txBody>
        </p:sp>
      </p:grpSp>
      <p:grpSp>
        <p:nvGrpSpPr>
          <p:cNvPr id="283" name="Group 282">
            <a:extLst>
              <a:ext uri="{FF2B5EF4-FFF2-40B4-BE49-F238E27FC236}">
                <a16:creationId xmlns:a16="http://schemas.microsoft.com/office/drawing/2014/main" id="{8555E1D6-42E1-49AE-9D69-F5337943619E}"/>
              </a:ext>
            </a:extLst>
          </p:cNvPr>
          <p:cNvGrpSpPr/>
          <p:nvPr/>
        </p:nvGrpSpPr>
        <p:grpSpPr>
          <a:xfrm>
            <a:off x="6106520" y="4039694"/>
            <a:ext cx="2725916" cy="123111"/>
            <a:chOff x="6106522" y="2553718"/>
            <a:chExt cx="2725916" cy="131176"/>
          </a:xfrm>
        </p:grpSpPr>
        <p:sp>
          <p:nvSpPr>
            <p:cNvPr id="284" name="Rectangle 283">
              <a:extLst>
                <a:ext uri="{FF2B5EF4-FFF2-40B4-BE49-F238E27FC236}">
                  <a16:creationId xmlns:a16="http://schemas.microsoft.com/office/drawing/2014/main" id="{C42B189F-1FE5-425B-A802-036EA414A0D3}"/>
                </a:ext>
              </a:extLst>
            </p:cNvPr>
            <p:cNvSpPr>
              <a:spLocks/>
            </p:cNvSpPr>
            <p:nvPr/>
          </p:nvSpPr>
          <p:spPr>
            <a:xfrm>
              <a:off x="6106522" y="2581224"/>
              <a:ext cx="91428" cy="76168"/>
            </a:xfrm>
            <a:prstGeom prst="rect">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a:solidFill>
                  <a:schemeClr val="tx2"/>
                </a:solidFill>
                <a:latin typeface="Gill Sans MT" panose="020B0502020104020203" pitchFamily="34" charset="0"/>
              </a:endParaRPr>
            </a:p>
          </p:txBody>
        </p:sp>
        <p:sp>
          <p:nvSpPr>
            <p:cNvPr id="285" name="TextBox 284">
              <a:extLst>
                <a:ext uri="{FF2B5EF4-FFF2-40B4-BE49-F238E27FC236}">
                  <a16:creationId xmlns:a16="http://schemas.microsoft.com/office/drawing/2014/main" id="{F3CC329A-1870-4344-AE73-77B61566668C}"/>
                </a:ext>
              </a:extLst>
            </p:cNvPr>
            <p:cNvSpPr txBox="1">
              <a:spLocks/>
            </p:cNvSpPr>
            <p:nvPr/>
          </p:nvSpPr>
          <p:spPr>
            <a:xfrm>
              <a:off x="6282835" y="2553718"/>
              <a:ext cx="2549603" cy="131176"/>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pPr defTabSz="895246" fontAlgn="auto">
                <a:spcBef>
                  <a:spcPts val="0"/>
                </a:spcBef>
                <a:spcAft>
                  <a:spcPts val="0"/>
                </a:spcAft>
                <a:buClr>
                  <a:srgbClr val="002F6C"/>
                </a:buClr>
              </a:pPr>
              <a:r>
                <a:rPr lang="en-US" sz="800" dirty="0" err="1">
                  <a:latin typeface="Gill Sans MT" panose="020B0502020104020203" pitchFamily="34" charset="0"/>
                </a:rPr>
                <a:t>Cloro</a:t>
              </a:r>
              <a:endParaRPr lang="en-US" sz="800" dirty="0">
                <a:latin typeface="Gill Sans MT" panose="020B0502020104020203" pitchFamily="34" charset="0"/>
              </a:endParaRPr>
            </a:p>
          </p:txBody>
        </p:sp>
      </p:grpSp>
      <p:cxnSp>
        <p:nvCxnSpPr>
          <p:cNvPr id="286" name="Straight Connector 285">
            <a:extLst>
              <a:ext uri="{FF2B5EF4-FFF2-40B4-BE49-F238E27FC236}">
                <a16:creationId xmlns:a16="http://schemas.microsoft.com/office/drawing/2014/main" id="{9F2E54D3-5D5D-4BD3-A193-B921FFA20093}"/>
              </a:ext>
            </a:extLst>
          </p:cNvPr>
          <p:cNvCxnSpPr>
            <a:cxnSpLocks/>
          </p:cNvCxnSpPr>
          <p:nvPr/>
        </p:nvCxnSpPr>
        <p:spPr>
          <a:xfrm>
            <a:off x="6106520" y="3672870"/>
            <a:ext cx="2724923" cy="0"/>
          </a:xfrm>
          <a:prstGeom prst="line">
            <a:avLst/>
          </a:prstGeom>
          <a:ln w="317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91" name="Straight Connector 290">
            <a:extLst>
              <a:ext uri="{FF2B5EF4-FFF2-40B4-BE49-F238E27FC236}">
                <a16:creationId xmlns:a16="http://schemas.microsoft.com/office/drawing/2014/main" id="{597728BE-B575-4040-82F7-FE12BC8737CC}"/>
              </a:ext>
            </a:extLst>
          </p:cNvPr>
          <p:cNvCxnSpPr>
            <a:cxnSpLocks/>
          </p:cNvCxnSpPr>
          <p:nvPr/>
        </p:nvCxnSpPr>
        <p:spPr>
          <a:xfrm>
            <a:off x="6106520" y="4015578"/>
            <a:ext cx="2724923" cy="0"/>
          </a:xfrm>
          <a:prstGeom prst="line">
            <a:avLst/>
          </a:prstGeom>
          <a:ln w="3175">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nvGrpSpPr>
          <p:cNvPr id="304" name="Group 303">
            <a:extLst>
              <a:ext uri="{FF2B5EF4-FFF2-40B4-BE49-F238E27FC236}">
                <a16:creationId xmlns:a16="http://schemas.microsoft.com/office/drawing/2014/main" id="{1E417D17-0982-436C-AFE0-E0ECAE45BEFE}"/>
              </a:ext>
            </a:extLst>
          </p:cNvPr>
          <p:cNvGrpSpPr>
            <a:grpSpLocks/>
          </p:cNvGrpSpPr>
          <p:nvPr/>
        </p:nvGrpSpPr>
        <p:grpSpPr>
          <a:xfrm>
            <a:off x="6106520" y="4576362"/>
            <a:ext cx="2724923" cy="123111"/>
            <a:chOff x="6106522" y="4105046"/>
            <a:chExt cx="2693957" cy="131176"/>
          </a:xfrm>
        </p:grpSpPr>
        <p:sp>
          <p:nvSpPr>
            <p:cNvPr id="305" name="TextBox 304">
              <a:extLst>
                <a:ext uri="{FF2B5EF4-FFF2-40B4-BE49-F238E27FC236}">
                  <a16:creationId xmlns:a16="http://schemas.microsoft.com/office/drawing/2014/main" id="{D39A1E63-2C89-4E49-ABAF-7581B6515361}"/>
                </a:ext>
              </a:extLst>
            </p:cNvPr>
            <p:cNvSpPr txBox="1">
              <a:spLocks/>
            </p:cNvSpPr>
            <p:nvPr/>
          </p:nvSpPr>
          <p:spPr>
            <a:xfrm>
              <a:off x="6282836" y="4105046"/>
              <a:ext cx="2517643" cy="131176"/>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s-EC" sz="800" dirty="0">
                  <a:latin typeface="Gill Sans MT" panose="020B0502020104020203" pitchFamily="34" charset="0"/>
                  <a:cs typeface="Calibri" panose="020F0502020204030204" pitchFamily="34" charset="0"/>
                  <a:sym typeface="Gill Sans MT" panose="020B0502020104020203" pitchFamily="34" charset="0"/>
                </a:rPr>
                <a:t>Oxigeno</a:t>
              </a:r>
            </a:p>
          </p:txBody>
        </p:sp>
        <p:sp>
          <p:nvSpPr>
            <p:cNvPr id="306" name="Rectangle 305">
              <a:extLst>
                <a:ext uri="{FF2B5EF4-FFF2-40B4-BE49-F238E27FC236}">
                  <a16:creationId xmlns:a16="http://schemas.microsoft.com/office/drawing/2014/main" id="{FABCF133-28EF-4294-807D-C9903E3510FC}"/>
                </a:ext>
              </a:extLst>
            </p:cNvPr>
            <p:cNvSpPr>
              <a:spLocks/>
            </p:cNvSpPr>
            <p:nvPr/>
          </p:nvSpPr>
          <p:spPr>
            <a:xfrm>
              <a:off x="6106522" y="4120823"/>
              <a:ext cx="91428" cy="76168"/>
            </a:xfrm>
            <a:prstGeom prst="rect">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a:solidFill>
                  <a:schemeClr val="tx2"/>
                </a:solidFill>
                <a:latin typeface="Gill Sans MT" panose="020B0502020104020203" pitchFamily="34" charset="0"/>
              </a:endParaRPr>
            </a:p>
          </p:txBody>
        </p:sp>
      </p:grpSp>
      <p:cxnSp>
        <p:nvCxnSpPr>
          <p:cNvPr id="308" name="Straight Connector 307">
            <a:extLst>
              <a:ext uri="{FF2B5EF4-FFF2-40B4-BE49-F238E27FC236}">
                <a16:creationId xmlns:a16="http://schemas.microsoft.com/office/drawing/2014/main" id="{58D3A597-B531-4B7D-B0D2-D2250D549E06}"/>
              </a:ext>
            </a:extLst>
          </p:cNvPr>
          <p:cNvCxnSpPr>
            <a:cxnSpLocks/>
          </p:cNvCxnSpPr>
          <p:nvPr/>
        </p:nvCxnSpPr>
        <p:spPr>
          <a:xfrm>
            <a:off x="6106520" y="4719815"/>
            <a:ext cx="2724923" cy="0"/>
          </a:xfrm>
          <a:prstGeom prst="line">
            <a:avLst/>
          </a:prstGeom>
          <a:ln w="317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315" name="Straight Connector 314">
            <a:extLst>
              <a:ext uri="{FF2B5EF4-FFF2-40B4-BE49-F238E27FC236}">
                <a16:creationId xmlns:a16="http://schemas.microsoft.com/office/drawing/2014/main" id="{43B311EA-E1D8-4C28-ADEC-E664F387E021}"/>
              </a:ext>
            </a:extLst>
          </p:cNvPr>
          <p:cNvCxnSpPr>
            <a:cxnSpLocks/>
          </p:cNvCxnSpPr>
          <p:nvPr/>
        </p:nvCxnSpPr>
        <p:spPr>
          <a:xfrm>
            <a:off x="6106520" y="4901022"/>
            <a:ext cx="2724923" cy="0"/>
          </a:xfrm>
          <a:prstGeom prst="line">
            <a:avLst/>
          </a:prstGeom>
          <a:ln w="3175">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nvGrpSpPr>
          <p:cNvPr id="206" name="Group 205">
            <a:extLst>
              <a:ext uri="{FF2B5EF4-FFF2-40B4-BE49-F238E27FC236}">
                <a16:creationId xmlns:a16="http://schemas.microsoft.com/office/drawing/2014/main" id="{FF117D0A-FEA0-42B0-8CE3-C107059EE6CB}"/>
              </a:ext>
            </a:extLst>
          </p:cNvPr>
          <p:cNvGrpSpPr/>
          <p:nvPr/>
        </p:nvGrpSpPr>
        <p:grpSpPr>
          <a:xfrm>
            <a:off x="135687" y="5966801"/>
            <a:ext cx="2697563" cy="123111"/>
            <a:chOff x="3118258" y="2665296"/>
            <a:chExt cx="2697563" cy="131176"/>
          </a:xfrm>
        </p:grpSpPr>
        <p:sp>
          <p:nvSpPr>
            <p:cNvPr id="217" name="Rectangle 216">
              <a:extLst>
                <a:ext uri="{FF2B5EF4-FFF2-40B4-BE49-F238E27FC236}">
                  <a16:creationId xmlns:a16="http://schemas.microsoft.com/office/drawing/2014/main" id="{081FB6E9-FF85-487D-93DD-2E3F2359D258}"/>
                </a:ext>
              </a:extLst>
            </p:cNvPr>
            <p:cNvSpPr>
              <a:spLocks/>
            </p:cNvSpPr>
            <p:nvPr/>
          </p:nvSpPr>
          <p:spPr>
            <a:xfrm>
              <a:off x="3118258" y="2677436"/>
              <a:ext cx="91428" cy="76168"/>
            </a:xfrm>
            <a:prstGeom prst="rect">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a:solidFill>
                  <a:schemeClr val="tx2"/>
                </a:solidFill>
                <a:latin typeface="Gill Sans MT" panose="020B0502020104020203" pitchFamily="34" charset="0"/>
              </a:endParaRPr>
            </a:p>
          </p:txBody>
        </p:sp>
        <p:sp>
          <p:nvSpPr>
            <p:cNvPr id="231" name="TextBox 230">
              <a:extLst>
                <a:ext uri="{FF2B5EF4-FFF2-40B4-BE49-F238E27FC236}">
                  <a16:creationId xmlns:a16="http://schemas.microsoft.com/office/drawing/2014/main" id="{5EDA4425-5DA4-43E4-987C-9DD8DA407A30}"/>
                </a:ext>
              </a:extLst>
            </p:cNvPr>
            <p:cNvSpPr txBox="1">
              <a:spLocks/>
            </p:cNvSpPr>
            <p:nvPr/>
          </p:nvSpPr>
          <p:spPr>
            <a:xfrm>
              <a:off x="3294573" y="2665296"/>
              <a:ext cx="2521248" cy="131176"/>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pPr defTabSz="895246" fontAlgn="auto">
                <a:spcBef>
                  <a:spcPts val="0"/>
                </a:spcBef>
                <a:spcAft>
                  <a:spcPts val="0"/>
                </a:spcAft>
                <a:buClr>
                  <a:srgbClr val="002F6C"/>
                </a:buClr>
              </a:pPr>
              <a:r>
                <a:rPr lang="en-US" sz="800" dirty="0" err="1">
                  <a:latin typeface="Gill Sans MT" panose="020B0502020104020203" pitchFamily="34" charset="0"/>
                </a:rPr>
                <a:t>Tubos</a:t>
              </a:r>
              <a:r>
                <a:rPr lang="en-US" sz="800" dirty="0">
                  <a:latin typeface="Gill Sans MT" panose="020B0502020104020203" pitchFamily="34" charset="0"/>
                </a:rPr>
                <a:t> </a:t>
              </a:r>
              <a:r>
                <a:rPr lang="en-US" sz="800" dirty="0" err="1">
                  <a:latin typeface="Gill Sans MT" panose="020B0502020104020203" pitchFamily="34" charset="0"/>
                </a:rPr>
                <a:t>endotraqueales</a:t>
              </a:r>
              <a:endParaRPr lang="en-US" sz="800" dirty="0">
                <a:latin typeface="Gill Sans MT" panose="020B0502020104020203" pitchFamily="34" charset="0"/>
              </a:endParaRPr>
            </a:p>
          </p:txBody>
        </p:sp>
      </p:grpSp>
      <p:grpSp>
        <p:nvGrpSpPr>
          <p:cNvPr id="184" name="Group 183">
            <a:extLst>
              <a:ext uri="{FF2B5EF4-FFF2-40B4-BE49-F238E27FC236}">
                <a16:creationId xmlns:a16="http://schemas.microsoft.com/office/drawing/2014/main" id="{9DEF233D-1094-45F1-AC88-5FBEE7A5E289}"/>
              </a:ext>
            </a:extLst>
          </p:cNvPr>
          <p:cNvGrpSpPr/>
          <p:nvPr/>
        </p:nvGrpSpPr>
        <p:grpSpPr>
          <a:xfrm>
            <a:off x="139895" y="4435107"/>
            <a:ext cx="2707272" cy="246221"/>
            <a:chOff x="141996" y="4144943"/>
            <a:chExt cx="2707272" cy="262351"/>
          </a:xfrm>
        </p:grpSpPr>
        <p:sp>
          <p:nvSpPr>
            <p:cNvPr id="188" name="TextBox 187">
              <a:extLst>
                <a:ext uri="{FF2B5EF4-FFF2-40B4-BE49-F238E27FC236}">
                  <a16:creationId xmlns:a16="http://schemas.microsoft.com/office/drawing/2014/main" id="{D036EA10-7BC4-4C03-9E90-0F94E7F9EB00}"/>
                </a:ext>
              </a:extLst>
            </p:cNvPr>
            <p:cNvSpPr txBox="1">
              <a:spLocks/>
            </p:cNvSpPr>
            <p:nvPr/>
          </p:nvSpPr>
          <p:spPr>
            <a:xfrm>
              <a:off x="326043" y="4144943"/>
              <a:ext cx="2523225" cy="26235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246" fontAlgn="auto">
                <a:spcBef>
                  <a:spcPts val="0"/>
                </a:spcBef>
                <a:spcAft>
                  <a:spcPts val="0"/>
                </a:spcAft>
                <a:buClr>
                  <a:srgbClr val="002F6C"/>
                </a:buClr>
              </a:pPr>
              <a:r>
                <a:rPr lang="en-US" sz="800" dirty="0" err="1">
                  <a:latin typeface="Gill Sans MT" panose="020B0502020104020203" pitchFamily="34" charset="0"/>
                </a:rPr>
                <a:t>Sustancia</a:t>
              </a:r>
              <a:r>
                <a:rPr lang="en-US" sz="800" dirty="0">
                  <a:latin typeface="Gill Sans MT" panose="020B0502020104020203" pitchFamily="34" charset="0"/>
                </a:rPr>
                <a:t> de </a:t>
              </a:r>
              <a:r>
                <a:rPr lang="en-US" sz="800" dirty="0" err="1">
                  <a:latin typeface="Gill Sans MT" panose="020B0502020104020203" pitchFamily="34" charset="0"/>
                </a:rPr>
                <a:t>transporte</a:t>
              </a:r>
              <a:r>
                <a:rPr lang="en-US" sz="800" dirty="0">
                  <a:latin typeface="Gill Sans MT" panose="020B0502020104020203" pitchFamily="34" charset="0"/>
                </a:rPr>
                <a:t> de </a:t>
              </a:r>
              <a:r>
                <a:rPr lang="en-US" sz="800" dirty="0" err="1">
                  <a:latin typeface="Gill Sans MT" panose="020B0502020104020203" pitchFamily="34" charset="0"/>
                </a:rPr>
                <a:t>embalaje</a:t>
              </a:r>
              <a:r>
                <a:rPr lang="en-US" sz="800" dirty="0">
                  <a:latin typeface="Gill Sans MT" panose="020B0502020104020203" pitchFamily="34" charset="0"/>
                </a:rPr>
                <a:t> para </a:t>
              </a:r>
              <a:r>
                <a:rPr lang="en-US" sz="800" dirty="0" err="1">
                  <a:latin typeface="Gill Sans MT" panose="020B0502020104020203" pitchFamily="34" charset="0"/>
                </a:rPr>
                <a:t>transporte</a:t>
              </a:r>
              <a:r>
                <a:rPr lang="en-US" sz="800" dirty="0">
                  <a:latin typeface="Gill Sans MT" panose="020B0502020104020203" pitchFamily="34" charset="0"/>
                </a:rPr>
                <a:t> de </a:t>
              </a:r>
              <a:r>
                <a:rPr lang="en-US" sz="800" dirty="0" err="1">
                  <a:latin typeface="Gill Sans MT" panose="020B0502020104020203" pitchFamily="34" charset="0"/>
                </a:rPr>
                <a:t>muestras</a:t>
              </a:r>
              <a:r>
                <a:rPr lang="en-US" sz="800" dirty="0">
                  <a:latin typeface="Gill Sans MT" panose="020B0502020104020203" pitchFamily="34" charset="0"/>
                </a:rPr>
                <a:t> </a:t>
              </a:r>
              <a:r>
                <a:rPr lang="en-US" sz="800" dirty="0" err="1">
                  <a:latin typeface="Gill Sans MT" panose="020B0502020104020203" pitchFamily="34" charset="0"/>
                </a:rPr>
                <a:t>virales</a:t>
              </a:r>
              <a:endParaRPr lang="en-US" sz="800" dirty="0">
                <a:latin typeface="Gill Sans MT" panose="020B0502020104020203" pitchFamily="34" charset="0"/>
              </a:endParaRPr>
            </a:p>
          </p:txBody>
        </p:sp>
        <p:sp>
          <p:nvSpPr>
            <p:cNvPr id="203" name="Rectangle 202">
              <a:extLst>
                <a:ext uri="{FF2B5EF4-FFF2-40B4-BE49-F238E27FC236}">
                  <a16:creationId xmlns:a16="http://schemas.microsoft.com/office/drawing/2014/main" id="{D3C406A1-62BE-4E48-B8FA-0F88D2FB0185}"/>
                </a:ext>
              </a:extLst>
            </p:cNvPr>
            <p:cNvSpPr>
              <a:spLocks/>
            </p:cNvSpPr>
            <p:nvPr/>
          </p:nvSpPr>
          <p:spPr>
            <a:xfrm>
              <a:off x="141996" y="4197037"/>
              <a:ext cx="91550" cy="76168"/>
            </a:xfrm>
            <a:prstGeom prst="rect">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a:solidFill>
                  <a:schemeClr val="tx2"/>
                </a:solidFill>
                <a:latin typeface="Gill Sans MT" panose="020B0502020104020203" pitchFamily="34" charset="0"/>
              </a:endParaRPr>
            </a:p>
          </p:txBody>
        </p:sp>
      </p:grpSp>
      <p:grpSp>
        <p:nvGrpSpPr>
          <p:cNvPr id="232" name="Group 231">
            <a:extLst>
              <a:ext uri="{FF2B5EF4-FFF2-40B4-BE49-F238E27FC236}">
                <a16:creationId xmlns:a16="http://schemas.microsoft.com/office/drawing/2014/main" id="{153F7B89-BF33-4CCD-9742-1681D393ACB0}"/>
              </a:ext>
            </a:extLst>
          </p:cNvPr>
          <p:cNvGrpSpPr/>
          <p:nvPr/>
        </p:nvGrpSpPr>
        <p:grpSpPr>
          <a:xfrm>
            <a:off x="3112996" y="2892671"/>
            <a:ext cx="2697565" cy="123111"/>
            <a:chOff x="3117759" y="2704869"/>
            <a:chExt cx="2697565" cy="131176"/>
          </a:xfrm>
        </p:grpSpPr>
        <p:sp>
          <p:nvSpPr>
            <p:cNvPr id="234" name="Rectangle 233">
              <a:extLst>
                <a:ext uri="{FF2B5EF4-FFF2-40B4-BE49-F238E27FC236}">
                  <a16:creationId xmlns:a16="http://schemas.microsoft.com/office/drawing/2014/main" id="{03B8457B-CE4B-48DC-BF61-0AAC1D1B64D6}"/>
                </a:ext>
              </a:extLst>
            </p:cNvPr>
            <p:cNvSpPr>
              <a:spLocks/>
            </p:cNvSpPr>
            <p:nvPr/>
          </p:nvSpPr>
          <p:spPr>
            <a:xfrm>
              <a:off x="3117759" y="2732375"/>
              <a:ext cx="91428" cy="76168"/>
            </a:xfrm>
            <a:prstGeom prst="rect">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a:solidFill>
                  <a:schemeClr val="tx2"/>
                </a:solidFill>
                <a:latin typeface="Gill Sans MT" panose="020B0502020104020203" pitchFamily="34" charset="0"/>
              </a:endParaRPr>
            </a:p>
          </p:txBody>
        </p:sp>
        <p:sp>
          <p:nvSpPr>
            <p:cNvPr id="235" name="TextBox 234">
              <a:extLst>
                <a:ext uri="{FF2B5EF4-FFF2-40B4-BE49-F238E27FC236}">
                  <a16:creationId xmlns:a16="http://schemas.microsoft.com/office/drawing/2014/main" id="{02249F6E-FC5D-426D-A4D2-F183D96CB0E6}"/>
                </a:ext>
              </a:extLst>
            </p:cNvPr>
            <p:cNvSpPr txBox="1">
              <a:spLocks/>
            </p:cNvSpPr>
            <p:nvPr/>
          </p:nvSpPr>
          <p:spPr>
            <a:xfrm>
              <a:off x="3294076" y="2704869"/>
              <a:ext cx="2521248" cy="131176"/>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r>
                <a:rPr lang="es-EC" sz="800" dirty="0">
                  <a:solidFill>
                    <a:srgbClr val="000000"/>
                  </a:solidFill>
                  <a:latin typeface="Gill Sans MT" panose="020B0502020104020203" pitchFamily="34" charset="0"/>
                  <a:cs typeface="Calibri" panose="020F0502020204030204" pitchFamily="34" charset="0"/>
                  <a:sym typeface="Gill Sans MT" panose="020B0502020104020203" pitchFamily="34" charset="0"/>
                </a:rPr>
                <a:t>Máscara de oxígeno con bolsa de reserva, desechable</a:t>
              </a:r>
              <a:endParaRPr lang="es-EC" sz="800" baseline="30000" dirty="0">
                <a:solidFill>
                  <a:srgbClr val="000000"/>
                </a:solidFill>
                <a:latin typeface="Gill Sans MT" panose="020B0502020104020203" pitchFamily="34" charset="0"/>
                <a:cs typeface="Calibri" panose="020F0502020204030204" pitchFamily="34" charset="0"/>
                <a:sym typeface="Gill Sans MT" panose="020B0502020104020203" pitchFamily="34" charset="0"/>
              </a:endParaRPr>
            </a:p>
          </p:txBody>
        </p:sp>
      </p:grpSp>
      <p:sp>
        <p:nvSpPr>
          <p:cNvPr id="240" name="TextBox 239">
            <a:extLst>
              <a:ext uri="{FF2B5EF4-FFF2-40B4-BE49-F238E27FC236}">
                <a16:creationId xmlns:a16="http://schemas.microsoft.com/office/drawing/2014/main" id="{3E32C009-D964-43A3-8A6D-4C9D43B15F3D}"/>
              </a:ext>
            </a:extLst>
          </p:cNvPr>
          <p:cNvSpPr txBox="1">
            <a:spLocks/>
          </p:cNvSpPr>
          <p:nvPr/>
        </p:nvSpPr>
        <p:spPr>
          <a:xfrm>
            <a:off x="326043" y="3861600"/>
            <a:ext cx="2514693" cy="24622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77443" fontAlgn="auto">
              <a:spcBef>
                <a:spcPts val="0"/>
              </a:spcBef>
              <a:spcAft>
                <a:spcPts val="0"/>
              </a:spcAft>
              <a:buClr>
                <a:srgbClr val="002F6C"/>
              </a:buClr>
            </a:pPr>
            <a:r>
              <a:rPr lang="en-US" sz="800" dirty="0" err="1">
                <a:latin typeface="Gill Sans MT" panose="020B0502020104020203" pitchFamily="34" charset="0"/>
              </a:rPr>
              <a:t>Ultrasonido</a:t>
            </a:r>
            <a:r>
              <a:rPr lang="en-US" sz="800" dirty="0">
                <a:latin typeface="Gill Sans MT" panose="020B0502020104020203" pitchFamily="34" charset="0"/>
              </a:rPr>
              <a:t> portable</a:t>
            </a:r>
          </a:p>
          <a:p>
            <a:pPr defTabSz="877443" fontAlgn="auto">
              <a:spcBef>
                <a:spcPts val="0"/>
              </a:spcBef>
              <a:spcAft>
                <a:spcPts val="0"/>
              </a:spcAft>
              <a:buClr>
                <a:srgbClr val="002F6C"/>
              </a:buClr>
            </a:pPr>
            <a:endParaRPr lang="en-US" sz="800" dirty="0">
              <a:solidFill>
                <a:schemeClr val="tx2"/>
              </a:solidFill>
              <a:latin typeface="Gill Sans MT" panose="020B0502020104020203" pitchFamily="34" charset="0"/>
            </a:endParaRPr>
          </a:p>
        </p:txBody>
      </p:sp>
      <p:sp>
        <p:nvSpPr>
          <p:cNvPr id="241" name="Rectangle 240">
            <a:extLst>
              <a:ext uri="{FF2B5EF4-FFF2-40B4-BE49-F238E27FC236}">
                <a16:creationId xmlns:a16="http://schemas.microsoft.com/office/drawing/2014/main" id="{EF74C3B8-EC41-4818-8389-93BD719FB479}"/>
              </a:ext>
            </a:extLst>
          </p:cNvPr>
          <p:cNvSpPr>
            <a:spLocks/>
          </p:cNvSpPr>
          <p:nvPr/>
        </p:nvSpPr>
        <p:spPr>
          <a:xfrm>
            <a:off x="141996" y="3867972"/>
            <a:ext cx="91550" cy="71485"/>
          </a:xfrm>
          <a:prstGeom prst="rect">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a:solidFill>
                <a:schemeClr val="tx2"/>
              </a:solidFill>
              <a:latin typeface="Gill Sans MT" panose="020B0502020104020203" pitchFamily="34" charset="0"/>
            </a:endParaRPr>
          </a:p>
        </p:txBody>
      </p:sp>
      <p:cxnSp>
        <p:nvCxnSpPr>
          <p:cNvPr id="242" name="Straight Connector 241">
            <a:extLst>
              <a:ext uri="{FF2B5EF4-FFF2-40B4-BE49-F238E27FC236}">
                <a16:creationId xmlns:a16="http://schemas.microsoft.com/office/drawing/2014/main" id="{72796AED-19A6-4EC2-B5EA-C94ECDD9F6F8}"/>
              </a:ext>
            </a:extLst>
          </p:cNvPr>
          <p:cNvCxnSpPr>
            <a:cxnSpLocks/>
          </p:cNvCxnSpPr>
          <p:nvPr/>
        </p:nvCxnSpPr>
        <p:spPr>
          <a:xfrm>
            <a:off x="148092" y="3818740"/>
            <a:ext cx="2705049" cy="0"/>
          </a:xfrm>
          <a:prstGeom prst="line">
            <a:avLst/>
          </a:prstGeom>
          <a:ln w="317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76F69269-F9D3-48FA-B085-F13DA1CFF52B}"/>
              </a:ext>
            </a:extLst>
          </p:cNvPr>
          <p:cNvCxnSpPr>
            <a:cxnSpLocks/>
          </p:cNvCxnSpPr>
          <p:nvPr/>
        </p:nvCxnSpPr>
        <p:spPr>
          <a:xfrm>
            <a:off x="6106520" y="4528782"/>
            <a:ext cx="2724923" cy="0"/>
          </a:xfrm>
          <a:prstGeom prst="line">
            <a:avLst/>
          </a:prstGeom>
          <a:ln w="3175">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329" name="Rectangle 328">
            <a:extLst>
              <a:ext uri="{FF2B5EF4-FFF2-40B4-BE49-F238E27FC236}">
                <a16:creationId xmlns:a16="http://schemas.microsoft.com/office/drawing/2014/main" id="{58AF5D9C-7394-4341-8322-18E0F661DDEB}"/>
              </a:ext>
            </a:extLst>
          </p:cNvPr>
          <p:cNvSpPr>
            <a:spLocks/>
          </p:cNvSpPr>
          <p:nvPr/>
        </p:nvSpPr>
        <p:spPr>
          <a:xfrm>
            <a:off x="3117759" y="5515272"/>
            <a:ext cx="91428" cy="71485"/>
          </a:xfrm>
          <a:prstGeom prst="rect">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a:solidFill>
                <a:schemeClr val="tx2"/>
              </a:solidFill>
              <a:latin typeface="Gill Sans MT" panose="020B0502020104020203" pitchFamily="34" charset="0"/>
            </a:endParaRPr>
          </a:p>
        </p:txBody>
      </p:sp>
      <p:sp>
        <p:nvSpPr>
          <p:cNvPr id="330" name="TextBox 329">
            <a:extLst>
              <a:ext uri="{FF2B5EF4-FFF2-40B4-BE49-F238E27FC236}">
                <a16:creationId xmlns:a16="http://schemas.microsoft.com/office/drawing/2014/main" id="{F097E018-1C94-4846-9032-D66EB99C4298}"/>
              </a:ext>
            </a:extLst>
          </p:cNvPr>
          <p:cNvSpPr txBox="1">
            <a:spLocks/>
          </p:cNvSpPr>
          <p:nvPr/>
        </p:nvSpPr>
        <p:spPr>
          <a:xfrm>
            <a:off x="3294076" y="5489453"/>
            <a:ext cx="2549603" cy="123111"/>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pPr defTabSz="895246" fontAlgn="auto">
              <a:spcBef>
                <a:spcPts val="0"/>
              </a:spcBef>
              <a:spcAft>
                <a:spcPts val="0"/>
              </a:spcAft>
              <a:buClr>
                <a:srgbClr val="002F6C"/>
              </a:buClr>
            </a:pPr>
            <a:r>
              <a:rPr lang="es-EC" sz="800" kern="0" dirty="0">
                <a:solidFill>
                  <a:sysClr val="windowText" lastClr="000000"/>
                </a:solidFill>
                <a:latin typeface="Gill Sans MT" panose="020B0502020104020203" pitchFamily="34" charset="0"/>
                <a:cs typeface="Calibri" panose="020F0502020204030204" pitchFamily="34" charset="0"/>
                <a:sym typeface="Gill Sans MT" panose="020B0502020104020203" pitchFamily="34" charset="0"/>
              </a:rPr>
              <a:t>Protector de ojos/facial</a:t>
            </a:r>
            <a:endParaRPr lang="en-US" sz="800" dirty="0">
              <a:solidFill>
                <a:schemeClr val="tx2"/>
              </a:solidFill>
              <a:latin typeface="Gill Sans MT" panose="020B0502020104020203" pitchFamily="34" charset="0"/>
            </a:endParaRPr>
          </a:p>
        </p:txBody>
      </p:sp>
      <p:sp>
        <p:nvSpPr>
          <p:cNvPr id="332" name="TextBox 331">
            <a:extLst>
              <a:ext uri="{FF2B5EF4-FFF2-40B4-BE49-F238E27FC236}">
                <a16:creationId xmlns:a16="http://schemas.microsoft.com/office/drawing/2014/main" id="{ED53219A-28A3-4001-8706-715026E514B3}"/>
              </a:ext>
            </a:extLst>
          </p:cNvPr>
          <p:cNvSpPr txBox="1">
            <a:spLocks/>
          </p:cNvSpPr>
          <p:nvPr/>
        </p:nvSpPr>
        <p:spPr>
          <a:xfrm>
            <a:off x="326043" y="4041205"/>
            <a:ext cx="2514693" cy="12311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77443" fontAlgn="auto">
              <a:spcBef>
                <a:spcPts val="0"/>
              </a:spcBef>
              <a:spcAft>
                <a:spcPts val="0"/>
              </a:spcAft>
              <a:buClr>
                <a:srgbClr val="002F6C"/>
              </a:buClr>
            </a:pPr>
            <a:r>
              <a:rPr lang="en-US" sz="800" dirty="0" err="1">
                <a:latin typeface="Gill Sans MT" panose="020B0502020104020203" pitchFamily="34" charset="0"/>
              </a:rPr>
              <a:t>Resucitador</a:t>
            </a:r>
            <a:endParaRPr lang="en-US" sz="800" dirty="0">
              <a:latin typeface="Gill Sans MT" panose="020B0502020104020203" pitchFamily="34" charset="0"/>
            </a:endParaRPr>
          </a:p>
        </p:txBody>
      </p:sp>
      <p:sp>
        <p:nvSpPr>
          <p:cNvPr id="333" name="Rectangle 332">
            <a:extLst>
              <a:ext uri="{FF2B5EF4-FFF2-40B4-BE49-F238E27FC236}">
                <a16:creationId xmlns:a16="http://schemas.microsoft.com/office/drawing/2014/main" id="{80EE576D-0694-43F1-9BD8-6081F2C79F69}"/>
              </a:ext>
            </a:extLst>
          </p:cNvPr>
          <p:cNvSpPr>
            <a:spLocks/>
          </p:cNvSpPr>
          <p:nvPr/>
        </p:nvSpPr>
        <p:spPr>
          <a:xfrm>
            <a:off x="141996" y="4047577"/>
            <a:ext cx="91550" cy="71485"/>
          </a:xfrm>
          <a:prstGeom prst="rect">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a:solidFill>
                <a:schemeClr val="tx2"/>
              </a:solidFill>
              <a:latin typeface="Gill Sans MT" panose="020B0502020104020203" pitchFamily="34" charset="0"/>
            </a:endParaRPr>
          </a:p>
        </p:txBody>
      </p:sp>
      <p:cxnSp>
        <p:nvCxnSpPr>
          <p:cNvPr id="334" name="Straight Connector 333">
            <a:extLst>
              <a:ext uri="{FF2B5EF4-FFF2-40B4-BE49-F238E27FC236}">
                <a16:creationId xmlns:a16="http://schemas.microsoft.com/office/drawing/2014/main" id="{E9970E93-62AA-47E3-BB85-FABFE33C2DC8}"/>
              </a:ext>
            </a:extLst>
          </p:cNvPr>
          <p:cNvCxnSpPr>
            <a:cxnSpLocks/>
          </p:cNvCxnSpPr>
          <p:nvPr/>
        </p:nvCxnSpPr>
        <p:spPr>
          <a:xfrm>
            <a:off x="148092" y="3998344"/>
            <a:ext cx="2705049" cy="0"/>
          </a:xfrm>
          <a:prstGeom prst="line">
            <a:avLst/>
          </a:prstGeom>
          <a:ln w="317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336" name="Straight Connector 335">
            <a:extLst>
              <a:ext uri="{FF2B5EF4-FFF2-40B4-BE49-F238E27FC236}">
                <a16:creationId xmlns:a16="http://schemas.microsoft.com/office/drawing/2014/main" id="{82506C08-037C-4421-B44F-4C347563F1A2}"/>
              </a:ext>
            </a:extLst>
          </p:cNvPr>
          <p:cNvCxnSpPr>
            <a:cxnSpLocks/>
          </p:cNvCxnSpPr>
          <p:nvPr/>
        </p:nvCxnSpPr>
        <p:spPr>
          <a:xfrm>
            <a:off x="3117760" y="5440218"/>
            <a:ext cx="2725919" cy="0"/>
          </a:xfrm>
          <a:prstGeom prst="line">
            <a:avLst/>
          </a:prstGeom>
          <a:ln w="3175">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345" name="TextBox 344">
            <a:extLst>
              <a:ext uri="{FF2B5EF4-FFF2-40B4-BE49-F238E27FC236}">
                <a16:creationId xmlns:a16="http://schemas.microsoft.com/office/drawing/2014/main" id="{AA522ADF-6061-4678-A436-5EA31DCF074B}"/>
              </a:ext>
            </a:extLst>
          </p:cNvPr>
          <p:cNvSpPr txBox="1">
            <a:spLocks/>
          </p:cNvSpPr>
          <p:nvPr/>
        </p:nvSpPr>
        <p:spPr>
          <a:xfrm>
            <a:off x="3294076" y="4255848"/>
            <a:ext cx="2549603" cy="123111"/>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pPr defTabSz="877443" fontAlgn="auto">
              <a:spcBef>
                <a:spcPts val="0"/>
              </a:spcBef>
              <a:spcAft>
                <a:spcPts val="0"/>
              </a:spcAft>
              <a:buClr>
                <a:srgbClr val="002F6C"/>
              </a:buClr>
            </a:pPr>
            <a:r>
              <a:rPr lang="es-EC" sz="800" dirty="0">
                <a:latin typeface="Gill Sans MT" panose="020B0502020104020203" pitchFamily="34" charset="0"/>
                <a:cs typeface="Calibri" panose="020F0502020204030204" pitchFamily="34" charset="0"/>
                <a:sym typeface="Gill Sans MT" panose="020B0502020104020203" pitchFamily="34" charset="0"/>
              </a:rPr>
              <a:t>Configuración de infusión, incluyendo bomba</a:t>
            </a:r>
          </a:p>
        </p:txBody>
      </p:sp>
      <p:sp>
        <p:nvSpPr>
          <p:cNvPr id="350" name="Rectangle 349">
            <a:extLst>
              <a:ext uri="{FF2B5EF4-FFF2-40B4-BE49-F238E27FC236}">
                <a16:creationId xmlns:a16="http://schemas.microsoft.com/office/drawing/2014/main" id="{78D2939C-9E6E-4C7B-93EB-61C44159297E}"/>
              </a:ext>
            </a:extLst>
          </p:cNvPr>
          <p:cNvSpPr>
            <a:spLocks/>
          </p:cNvSpPr>
          <p:nvPr/>
        </p:nvSpPr>
        <p:spPr>
          <a:xfrm>
            <a:off x="3117759" y="4281666"/>
            <a:ext cx="91428" cy="71485"/>
          </a:xfrm>
          <a:prstGeom prst="rect">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a:solidFill>
                <a:schemeClr val="tx2"/>
              </a:solidFill>
              <a:latin typeface="Gill Sans MT" panose="020B0502020104020203" pitchFamily="34" charset="0"/>
            </a:endParaRPr>
          </a:p>
        </p:txBody>
      </p:sp>
      <p:cxnSp>
        <p:nvCxnSpPr>
          <p:cNvPr id="352" name="Straight Connector 351">
            <a:extLst>
              <a:ext uri="{FF2B5EF4-FFF2-40B4-BE49-F238E27FC236}">
                <a16:creationId xmlns:a16="http://schemas.microsoft.com/office/drawing/2014/main" id="{63E589A6-7939-47B7-97B7-45447758D72F}"/>
              </a:ext>
            </a:extLst>
          </p:cNvPr>
          <p:cNvCxnSpPr>
            <a:cxnSpLocks/>
          </p:cNvCxnSpPr>
          <p:nvPr/>
        </p:nvCxnSpPr>
        <p:spPr>
          <a:xfrm>
            <a:off x="3125632" y="4185771"/>
            <a:ext cx="2725919" cy="0"/>
          </a:xfrm>
          <a:prstGeom prst="line">
            <a:avLst/>
          </a:prstGeom>
          <a:ln w="3175">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nvGrpSpPr>
          <p:cNvPr id="354" name="Group 353">
            <a:extLst>
              <a:ext uri="{FF2B5EF4-FFF2-40B4-BE49-F238E27FC236}">
                <a16:creationId xmlns:a16="http://schemas.microsoft.com/office/drawing/2014/main" id="{7EAA7F34-FA37-427C-9C9E-54DE9F8A312C}"/>
              </a:ext>
            </a:extLst>
          </p:cNvPr>
          <p:cNvGrpSpPr>
            <a:grpSpLocks/>
          </p:cNvGrpSpPr>
          <p:nvPr/>
        </p:nvGrpSpPr>
        <p:grpSpPr>
          <a:xfrm>
            <a:off x="6106520" y="4761260"/>
            <a:ext cx="2724923" cy="123111"/>
            <a:chOff x="6106522" y="3902897"/>
            <a:chExt cx="2693957" cy="131176"/>
          </a:xfrm>
        </p:grpSpPr>
        <p:sp>
          <p:nvSpPr>
            <p:cNvPr id="355" name="TextBox 354">
              <a:extLst>
                <a:ext uri="{FF2B5EF4-FFF2-40B4-BE49-F238E27FC236}">
                  <a16:creationId xmlns:a16="http://schemas.microsoft.com/office/drawing/2014/main" id="{F6EAA21E-0F21-4B0E-A9D5-827410875C91}"/>
                </a:ext>
              </a:extLst>
            </p:cNvPr>
            <p:cNvSpPr txBox="1">
              <a:spLocks/>
            </p:cNvSpPr>
            <p:nvPr/>
          </p:nvSpPr>
          <p:spPr>
            <a:xfrm>
              <a:off x="6282836" y="3902897"/>
              <a:ext cx="2517643" cy="131176"/>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246" fontAlgn="auto">
                <a:spcBef>
                  <a:spcPts val="0"/>
                </a:spcBef>
                <a:spcAft>
                  <a:spcPts val="0"/>
                </a:spcAft>
                <a:buClr>
                  <a:srgbClr val="002F6C"/>
                </a:buClr>
              </a:pPr>
              <a:r>
                <a:rPr lang="es-EC" sz="800" dirty="0">
                  <a:latin typeface="Gill Sans MT" panose="020B0502020104020203" pitchFamily="34" charset="0"/>
                  <a:cs typeface="Calibri" panose="020F0502020204030204" pitchFamily="34" charset="0"/>
                  <a:sym typeface="Gill Sans MT" panose="020B0502020104020203" pitchFamily="34" charset="0"/>
                </a:rPr>
                <a:t>Compuesto de infusión (Lactato de Ringer)</a:t>
              </a:r>
              <a:endParaRPr lang="en-US" sz="800" dirty="0">
                <a:solidFill>
                  <a:schemeClr val="tx2"/>
                </a:solidFill>
                <a:latin typeface="Gill Sans MT" panose="020B0502020104020203" pitchFamily="34" charset="0"/>
              </a:endParaRPr>
            </a:p>
          </p:txBody>
        </p:sp>
        <p:sp>
          <p:nvSpPr>
            <p:cNvPr id="359" name="Rectangle 358">
              <a:extLst>
                <a:ext uri="{FF2B5EF4-FFF2-40B4-BE49-F238E27FC236}">
                  <a16:creationId xmlns:a16="http://schemas.microsoft.com/office/drawing/2014/main" id="{6E957537-9809-4129-90C4-246B2F149024}"/>
                </a:ext>
              </a:extLst>
            </p:cNvPr>
            <p:cNvSpPr>
              <a:spLocks/>
            </p:cNvSpPr>
            <p:nvPr/>
          </p:nvSpPr>
          <p:spPr>
            <a:xfrm>
              <a:off x="6106522" y="3918679"/>
              <a:ext cx="91428" cy="76168"/>
            </a:xfrm>
            <a:prstGeom prst="rect">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a:solidFill>
                  <a:schemeClr val="tx2"/>
                </a:solidFill>
                <a:latin typeface="Gill Sans MT" panose="020B0502020104020203" pitchFamily="34" charset="0"/>
              </a:endParaRPr>
            </a:p>
          </p:txBody>
        </p:sp>
      </p:grpSp>
      <p:cxnSp>
        <p:nvCxnSpPr>
          <p:cNvPr id="369" name="Straight Connector 368">
            <a:extLst>
              <a:ext uri="{FF2B5EF4-FFF2-40B4-BE49-F238E27FC236}">
                <a16:creationId xmlns:a16="http://schemas.microsoft.com/office/drawing/2014/main" id="{1EB347EB-2DFC-4295-8B19-464A94F18B70}"/>
              </a:ext>
            </a:extLst>
          </p:cNvPr>
          <p:cNvCxnSpPr>
            <a:cxnSpLocks/>
          </p:cNvCxnSpPr>
          <p:nvPr/>
        </p:nvCxnSpPr>
        <p:spPr>
          <a:xfrm>
            <a:off x="141996" y="5123300"/>
            <a:ext cx="2705049" cy="0"/>
          </a:xfrm>
          <a:prstGeom prst="line">
            <a:avLst/>
          </a:prstGeom>
          <a:ln w="3175">
            <a:solidFill>
              <a:schemeClr val="accent6"/>
            </a:solidFill>
            <a:prstDash val="sysDot"/>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47C16DCB-97C5-4351-BA19-993C8D66DAF1}"/>
              </a:ext>
            </a:extLst>
          </p:cNvPr>
          <p:cNvPicPr>
            <a:picLocks/>
          </p:cNvPicPr>
          <p:nvPr/>
        </p:nvPicPr>
        <p:blipFill>
          <a:blip r:embed="rId9"/>
          <a:stretch>
            <a:fillRect/>
          </a:stretch>
        </p:blipFill>
        <p:spPr>
          <a:xfrm>
            <a:off x="550167" y="861203"/>
            <a:ext cx="548608" cy="551999"/>
          </a:xfrm>
          <a:prstGeom prst="ellipse">
            <a:avLst/>
          </a:prstGeom>
          <a:solidFill>
            <a:srgbClr val="FFFFFF">
              <a:shade val="85000"/>
            </a:srgbClr>
          </a:solidFill>
          <a:ln>
            <a:solidFill>
              <a:schemeClr val="bg1"/>
            </a:solidFill>
          </a:ln>
          <a:effectLst/>
        </p:spPr>
      </p:pic>
      <p:grpSp>
        <p:nvGrpSpPr>
          <p:cNvPr id="236" name="Group 235">
            <a:extLst>
              <a:ext uri="{FF2B5EF4-FFF2-40B4-BE49-F238E27FC236}">
                <a16:creationId xmlns:a16="http://schemas.microsoft.com/office/drawing/2014/main" id="{8E2D1BEE-21CF-4F84-A062-1683F07C9BE8}"/>
              </a:ext>
            </a:extLst>
          </p:cNvPr>
          <p:cNvGrpSpPr>
            <a:grpSpLocks/>
          </p:cNvGrpSpPr>
          <p:nvPr/>
        </p:nvGrpSpPr>
        <p:grpSpPr>
          <a:xfrm>
            <a:off x="6106520" y="4940443"/>
            <a:ext cx="2724923" cy="123111"/>
            <a:chOff x="6106522" y="3902902"/>
            <a:chExt cx="2693957" cy="131176"/>
          </a:xfrm>
        </p:grpSpPr>
        <p:sp>
          <p:nvSpPr>
            <p:cNvPr id="238" name="TextBox 237">
              <a:extLst>
                <a:ext uri="{FF2B5EF4-FFF2-40B4-BE49-F238E27FC236}">
                  <a16:creationId xmlns:a16="http://schemas.microsoft.com/office/drawing/2014/main" id="{65AFCAC3-28DD-434B-9942-FC20333F387C}"/>
                </a:ext>
              </a:extLst>
            </p:cNvPr>
            <p:cNvSpPr txBox="1">
              <a:spLocks/>
            </p:cNvSpPr>
            <p:nvPr/>
          </p:nvSpPr>
          <p:spPr>
            <a:xfrm>
              <a:off x="6282836" y="3902902"/>
              <a:ext cx="2517643" cy="131176"/>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246" fontAlgn="auto">
                <a:spcBef>
                  <a:spcPts val="0"/>
                </a:spcBef>
                <a:spcAft>
                  <a:spcPts val="0"/>
                </a:spcAft>
                <a:buClr>
                  <a:srgbClr val="002F6C"/>
                </a:buClr>
              </a:pPr>
              <a:r>
                <a:rPr lang="en-US" sz="800" dirty="0" err="1">
                  <a:latin typeface="Gill Sans MT" panose="020B0502020104020203" pitchFamily="34" charset="0"/>
                </a:rPr>
                <a:t>Antibióticos</a:t>
              </a:r>
              <a:r>
                <a:rPr lang="en-US" sz="800" dirty="0">
                  <a:latin typeface="Gill Sans MT" panose="020B0502020104020203" pitchFamily="34" charset="0"/>
                </a:rPr>
                <a:t> (para </a:t>
              </a:r>
              <a:r>
                <a:rPr lang="en-US" sz="800" dirty="0" err="1">
                  <a:latin typeface="Gill Sans MT" panose="020B0502020104020203" pitchFamily="34" charset="0"/>
                </a:rPr>
                <a:t>infecciones</a:t>
              </a:r>
              <a:r>
                <a:rPr lang="en-US" sz="800" dirty="0">
                  <a:latin typeface="Gill Sans MT" panose="020B0502020104020203" pitchFamily="34" charset="0"/>
                </a:rPr>
                <a:t> </a:t>
              </a:r>
              <a:r>
                <a:rPr lang="en-US" sz="800" dirty="0" err="1">
                  <a:latin typeface="Gill Sans MT" panose="020B0502020104020203" pitchFamily="34" charset="0"/>
                </a:rPr>
                <a:t>secundarias</a:t>
              </a:r>
              <a:r>
                <a:rPr lang="en-US" sz="800" dirty="0">
                  <a:latin typeface="Gill Sans MT" panose="020B0502020104020203" pitchFamily="34" charset="0"/>
                </a:rPr>
                <a:t>)</a:t>
              </a:r>
            </a:p>
          </p:txBody>
        </p:sp>
        <p:sp>
          <p:nvSpPr>
            <p:cNvPr id="249" name="Rectangle 248">
              <a:extLst>
                <a:ext uri="{FF2B5EF4-FFF2-40B4-BE49-F238E27FC236}">
                  <a16:creationId xmlns:a16="http://schemas.microsoft.com/office/drawing/2014/main" id="{28B367F3-8FD6-4ED1-A0DC-5E8BB19C92C1}"/>
                </a:ext>
              </a:extLst>
            </p:cNvPr>
            <p:cNvSpPr>
              <a:spLocks/>
            </p:cNvSpPr>
            <p:nvPr/>
          </p:nvSpPr>
          <p:spPr>
            <a:xfrm>
              <a:off x="6106522" y="3918679"/>
              <a:ext cx="91428" cy="76168"/>
            </a:xfrm>
            <a:prstGeom prst="rect">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a:solidFill>
                  <a:schemeClr val="tx2"/>
                </a:solidFill>
                <a:latin typeface="Gill Sans MT" panose="020B0502020104020203" pitchFamily="34" charset="0"/>
              </a:endParaRPr>
            </a:p>
          </p:txBody>
        </p:sp>
      </p:grpSp>
      <p:sp>
        <p:nvSpPr>
          <p:cNvPr id="250" name="TextBox 249">
            <a:extLst>
              <a:ext uri="{FF2B5EF4-FFF2-40B4-BE49-F238E27FC236}">
                <a16:creationId xmlns:a16="http://schemas.microsoft.com/office/drawing/2014/main" id="{9FB4539B-1C21-4D2F-9E59-4592B7C55B0C}"/>
              </a:ext>
            </a:extLst>
          </p:cNvPr>
          <p:cNvSpPr txBox="1">
            <a:spLocks/>
          </p:cNvSpPr>
          <p:nvPr/>
        </p:nvSpPr>
        <p:spPr>
          <a:xfrm>
            <a:off x="6092231" y="5093517"/>
            <a:ext cx="2724923" cy="135761"/>
          </a:xfrm>
          <a:prstGeom prst="rect">
            <a:avLst/>
          </a:prstGeom>
        </p:spPr>
        <p:txBody>
          <a:bodyPr vert="horz" wrap="square" lIns="18288" tIns="18288" rIns="18288" bIns="18288" rtlCol="0">
            <a:noAutofit/>
          </a:bodyPr>
          <a:lstStyle>
            <a:defPPr>
              <a:defRPr lang="en-US"/>
            </a:defPPr>
            <a:lvl1pPr marL="0" lvl="0" indent="0" defTabSz="895255" eaLnBrk="1" latinLnBrk="0" hangingPunct="1">
              <a:buClr>
                <a:srgbClr val="002F6C"/>
              </a:buClr>
              <a:buSzPct val="100000"/>
              <a:defRPr sz="700" b="0" baseline="0">
                <a:solidFill>
                  <a:srgbClr val="0067B9"/>
                </a:solidFill>
                <a:latin typeface="Gill Sans MT"/>
              </a:defRPr>
            </a:lvl1pPr>
            <a:lvl2pPr marL="193675" lvl="1" indent="-192088" defTabSz="895350" eaLnBrk="1" latinLnBrk="0" hangingPunct="1">
              <a:buClr>
                <a:schemeClr val="tx2"/>
              </a:buClr>
              <a:buSzPct val="125000"/>
              <a:buFont typeface="Arial" panose="020B0604020202020204" pitchFamily="34" charset="0"/>
              <a:buChar char="•"/>
              <a:defRPr sz="1400" b="0" baseline="0">
                <a:latin typeface="GillSans" panose="020B0602020204020204" pitchFamily="34" charset="0"/>
              </a:defRPr>
            </a:lvl2pPr>
            <a:lvl3pPr marL="457200" lvl="2" indent="-261938" defTabSz="895350" eaLnBrk="1" latinLnBrk="0" hangingPunct="1">
              <a:buClr>
                <a:schemeClr val="tx2"/>
              </a:buClr>
              <a:buSzPct val="120000"/>
              <a:buFont typeface="Arial" charset="0"/>
              <a:buChar char="–"/>
              <a:defRPr sz="1400" b="0" baseline="0">
                <a:latin typeface="GillSans" panose="020B0602020204020204" pitchFamily="34" charset="0"/>
              </a:defRPr>
            </a:lvl3pPr>
            <a:lvl4pPr marL="614363" lvl="3" indent="-155575" defTabSz="895350" eaLnBrk="1" latinLnBrk="0" hangingPunct="1">
              <a:buClr>
                <a:schemeClr val="tx2"/>
              </a:buClr>
              <a:buSzPct val="120000"/>
              <a:buFont typeface="Arial" charset="0"/>
              <a:buChar char="▫"/>
              <a:defRPr sz="1400" b="0" baseline="0">
                <a:latin typeface="GillSans" panose="020B0602020204020204" pitchFamily="34" charset="0"/>
              </a:defRPr>
            </a:lvl4pPr>
            <a:lvl5pPr marL="749808" lvl="4" indent="-130175" defTabSz="895350" eaLnBrk="1" latinLnBrk="0" hangingPunct="1">
              <a:buClr>
                <a:schemeClr val="tx2"/>
              </a:buClr>
              <a:buSzPct val="89000"/>
              <a:buFont typeface="Arial" charset="0"/>
              <a:buChar char="-"/>
              <a:defRPr sz="1400" b="0" baseline="0">
                <a:latin typeface="GillSans" panose="020B0602020204020204" pitchFamily="34" charset="0"/>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s-EC" sz="800" b="1" spc="-40" dirty="0">
                <a:solidFill>
                  <a:schemeClr val="accent4"/>
                </a:solidFill>
                <a:cs typeface="Calibri" panose="020F0502020204030204" pitchFamily="34" charset="0"/>
                <a:sym typeface="Gill Sans MT" panose="020B0502020104020203" pitchFamily="34" charset="0"/>
              </a:rPr>
              <a:t>AVANZADO</a:t>
            </a:r>
            <a:r>
              <a:rPr lang="es-EC" sz="800" b="1" spc="-40" dirty="0">
                <a:solidFill>
                  <a:schemeClr val="accent3"/>
                </a:solidFill>
                <a:cs typeface="Calibri" panose="020F0502020204030204" pitchFamily="34" charset="0"/>
                <a:sym typeface="Gill Sans MT" panose="020B0502020104020203" pitchFamily="34" charset="0"/>
              </a:rPr>
              <a:t> </a:t>
            </a:r>
          </a:p>
          <a:p>
            <a:endParaRPr lang="en-US" sz="800" b="1" dirty="0">
              <a:solidFill>
                <a:schemeClr val="tx2"/>
              </a:solidFill>
              <a:latin typeface="Gill Sans MT" panose="020B0502020104020203" pitchFamily="34" charset="0"/>
            </a:endParaRPr>
          </a:p>
        </p:txBody>
      </p:sp>
      <p:grpSp>
        <p:nvGrpSpPr>
          <p:cNvPr id="282" name="Group 281">
            <a:extLst>
              <a:ext uri="{FF2B5EF4-FFF2-40B4-BE49-F238E27FC236}">
                <a16:creationId xmlns:a16="http://schemas.microsoft.com/office/drawing/2014/main" id="{3ACC3148-FC41-4587-935F-A3C70B6BDCFB}"/>
              </a:ext>
            </a:extLst>
          </p:cNvPr>
          <p:cNvGrpSpPr>
            <a:grpSpLocks/>
          </p:cNvGrpSpPr>
          <p:nvPr/>
        </p:nvGrpSpPr>
        <p:grpSpPr>
          <a:xfrm>
            <a:off x="6106520" y="5289786"/>
            <a:ext cx="2724923" cy="246221"/>
            <a:chOff x="6106522" y="3902902"/>
            <a:chExt cx="2693957" cy="262351"/>
          </a:xfrm>
        </p:grpSpPr>
        <p:sp>
          <p:nvSpPr>
            <p:cNvPr id="287" name="TextBox 286">
              <a:extLst>
                <a:ext uri="{FF2B5EF4-FFF2-40B4-BE49-F238E27FC236}">
                  <a16:creationId xmlns:a16="http://schemas.microsoft.com/office/drawing/2014/main" id="{385C014C-61D8-4BD7-9725-3ED7691C19E6}"/>
                </a:ext>
              </a:extLst>
            </p:cNvPr>
            <p:cNvSpPr txBox="1">
              <a:spLocks/>
            </p:cNvSpPr>
            <p:nvPr/>
          </p:nvSpPr>
          <p:spPr>
            <a:xfrm>
              <a:off x="6282836" y="3902902"/>
              <a:ext cx="2517643" cy="26235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246" fontAlgn="auto">
                <a:spcBef>
                  <a:spcPts val="0"/>
                </a:spcBef>
                <a:spcAft>
                  <a:spcPts val="0"/>
                </a:spcAft>
                <a:buClr>
                  <a:srgbClr val="002F6C"/>
                </a:buClr>
              </a:pPr>
              <a:r>
                <a:rPr lang="en-GB" sz="800" dirty="0"/>
                <a:t>Kits de </a:t>
              </a:r>
              <a:r>
                <a:rPr lang="en-GB" sz="800" dirty="0" err="1"/>
                <a:t>atención</a:t>
              </a:r>
              <a:r>
                <a:rPr lang="en-GB" sz="800" dirty="0"/>
                <a:t> </a:t>
              </a:r>
              <a:r>
                <a:rPr lang="en-GB" sz="800" dirty="0" err="1"/>
                <a:t>domiciliaria</a:t>
              </a:r>
              <a:r>
                <a:rPr lang="en-GB" sz="800" dirty="0"/>
                <a:t> para el </a:t>
              </a:r>
              <a:r>
                <a:rPr lang="en-GB" sz="800" dirty="0" err="1"/>
                <a:t>aislamiento</a:t>
              </a:r>
              <a:r>
                <a:rPr lang="en-GB" sz="800" dirty="0"/>
                <a:t> </a:t>
              </a:r>
              <a:r>
                <a:rPr lang="en-GB" sz="800" dirty="0" err="1"/>
                <a:t>domiciliario</a:t>
              </a:r>
              <a:r>
                <a:rPr lang="en-GB" sz="800" dirty="0"/>
                <a:t> de </a:t>
              </a:r>
              <a:r>
                <a:rPr lang="en-GB" sz="800" dirty="0" err="1"/>
                <a:t>casos</a:t>
              </a:r>
              <a:r>
                <a:rPr lang="en-GB" sz="800" dirty="0"/>
                <a:t> </a:t>
              </a:r>
              <a:r>
                <a:rPr lang="en-GB" sz="800" dirty="0" err="1"/>
                <a:t>asintomáticos</a:t>
              </a:r>
              <a:r>
                <a:rPr lang="en-GB" sz="800" dirty="0"/>
                <a:t> o </a:t>
              </a:r>
              <a:r>
                <a:rPr lang="en-GB" sz="800" dirty="0" err="1"/>
                <a:t>levemente</a:t>
              </a:r>
              <a:r>
                <a:rPr lang="en-GB" sz="800" dirty="0"/>
                <a:t> </a:t>
              </a:r>
              <a:r>
                <a:rPr lang="en-GB" sz="800" dirty="0" err="1"/>
                <a:t>sintomáticos</a:t>
              </a:r>
              <a:endParaRPr lang="en-GB" sz="800" dirty="0"/>
            </a:p>
          </p:txBody>
        </p:sp>
        <p:sp>
          <p:nvSpPr>
            <p:cNvPr id="288" name="Rectangle 287">
              <a:extLst>
                <a:ext uri="{FF2B5EF4-FFF2-40B4-BE49-F238E27FC236}">
                  <a16:creationId xmlns:a16="http://schemas.microsoft.com/office/drawing/2014/main" id="{B3FC8C70-A94F-423C-B570-52988DFFAF75}"/>
                </a:ext>
              </a:extLst>
            </p:cNvPr>
            <p:cNvSpPr>
              <a:spLocks/>
            </p:cNvSpPr>
            <p:nvPr/>
          </p:nvSpPr>
          <p:spPr>
            <a:xfrm>
              <a:off x="6106522" y="3918679"/>
              <a:ext cx="91428" cy="76168"/>
            </a:xfrm>
            <a:prstGeom prst="rect">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a:solidFill>
                  <a:schemeClr val="tx2"/>
                </a:solidFill>
                <a:latin typeface="Gill Sans MT" panose="020B0502020104020203" pitchFamily="34" charset="0"/>
              </a:endParaRPr>
            </a:p>
          </p:txBody>
        </p:sp>
      </p:grpSp>
      <p:grpSp>
        <p:nvGrpSpPr>
          <p:cNvPr id="289" name="Group 288">
            <a:extLst>
              <a:ext uri="{FF2B5EF4-FFF2-40B4-BE49-F238E27FC236}">
                <a16:creationId xmlns:a16="http://schemas.microsoft.com/office/drawing/2014/main" id="{93685C31-B17D-4BCC-A4D2-1A82D2039FDC}"/>
              </a:ext>
            </a:extLst>
          </p:cNvPr>
          <p:cNvGrpSpPr>
            <a:grpSpLocks/>
          </p:cNvGrpSpPr>
          <p:nvPr/>
        </p:nvGrpSpPr>
        <p:grpSpPr>
          <a:xfrm>
            <a:off x="6106520" y="5610896"/>
            <a:ext cx="2724923" cy="123111"/>
            <a:chOff x="6106522" y="4105046"/>
            <a:chExt cx="2693957" cy="131176"/>
          </a:xfrm>
        </p:grpSpPr>
        <p:sp>
          <p:nvSpPr>
            <p:cNvPr id="290" name="TextBox 289">
              <a:extLst>
                <a:ext uri="{FF2B5EF4-FFF2-40B4-BE49-F238E27FC236}">
                  <a16:creationId xmlns:a16="http://schemas.microsoft.com/office/drawing/2014/main" id="{B1F391C4-C9F1-4D19-8E54-F1A8C3A8A8CF}"/>
                </a:ext>
              </a:extLst>
            </p:cNvPr>
            <p:cNvSpPr txBox="1">
              <a:spLocks/>
            </p:cNvSpPr>
            <p:nvPr/>
          </p:nvSpPr>
          <p:spPr>
            <a:xfrm>
              <a:off x="6282836" y="4105046"/>
              <a:ext cx="2517643" cy="131176"/>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895246" fontAlgn="auto">
                <a:spcBef>
                  <a:spcPts val="0"/>
                </a:spcBef>
                <a:spcAft>
                  <a:spcPts val="0"/>
                </a:spcAft>
                <a:buClr>
                  <a:srgbClr val="002F6C"/>
                </a:buClr>
              </a:pPr>
              <a:r>
                <a:rPr lang="en-US" sz="800" dirty="0" err="1">
                  <a:latin typeface="Gill Sans MT" panose="020B0502020104020203" pitchFamily="34" charset="0"/>
                </a:rPr>
                <a:t>Antivirales</a:t>
              </a:r>
              <a:r>
                <a:rPr lang="en-US" sz="800" dirty="0">
                  <a:latin typeface="Gill Sans MT" panose="020B0502020104020203" pitchFamily="34" charset="0"/>
                </a:rPr>
                <a:t>/</a:t>
              </a:r>
              <a:r>
                <a:rPr lang="en-US" sz="800" dirty="0" err="1">
                  <a:latin typeface="Gill Sans MT" panose="020B0502020104020203" pitchFamily="34" charset="0"/>
                </a:rPr>
                <a:t>vacunas</a:t>
              </a:r>
              <a:r>
                <a:rPr lang="en-US" sz="800" dirty="0">
                  <a:latin typeface="Gill Sans MT" panose="020B0502020104020203" pitchFamily="34" charset="0"/>
                </a:rPr>
                <a:t> (</a:t>
              </a:r>
              <a:r>
                <a:rPr lang="en-US" sz="800" dirty="0" err="1">
                  <a:latin typeface="Gill Sans MT" panose="020B0502020104020203" pitchFamily="34" charset="0"/>
                </a:rPr>
                <a:t>en</a:t>
              </a:r>
              <a:r>
                <a:rPr lang="en-US" sz="800" dirty="0">
                  <a:latin typeface="Gill Sans MT" panose="020B0502020104020203" pitchFamily="34" charset="0"/>
                </a:rPr>
                <a:t> </a:t>
              </a:r>
              <a:r>
                <a:rPr lang="en-US" sz="800" dirty="0" err="1">
                  <a:latin typeface="Gill Sans MT" panose="020B0502020104020203" pitchFamily="34" charset="0"/>
                </a:rPr>
                <a:t>desarollo</a:t>
              </a:r>
              <a:r>
                <a:rPr lang="en-US" sz="800" dirty="0">
                  <a:latin typeface="Gill Sans MT" panose="020B0502020104020203" pitchFamily="34" charset="0"/>
                </a:rPr>
                <a:t>)</a:t>
              </a:r>
            </a:p>
          </p:txBody>
        </p:sp>
        <p:sp>
          <p:nvSpPr>
            <p:cNvPr id="292" name="Rectangle 291">
              <a:extLst>
                <a:ext uri="{FF2B5EF4-FFF2-40B4-BE49-F238E27FC236}">
                  <a16:creationId xmlns:a16="http://schemas.microsoft.com/office/drawing/2014/main" id="{04178039-E778-432E-A81E-33D960A5BA5D}"/>
                </a:ext>
              </a:extLst>
            </p:cNvPr>
            <p:cNvSpPr>
              <a:spLocks/>
            </p:cNvSpPr>
            <p:nvPr/>
          </p:nvSpPr>
          <p:spPr>
            <a:xfrm>
              <a:off x="6106522" y="4120823"/>
              <a:ext cx="91428" cy="76168"/>
            </a:xfrm>
            <a:prstGeom prst="rect">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a:solidFill>
                  <a:schemeClr val="tx2"/>
                </a:solidFill>
                <a:latin typeface="Gill Sans MT" panose="020B0502020104020203" pitchFamily="34" charset="0"/>
              </a:endParaRPr>
            </a:p>
          </p:txBody>
        </p:sp>
      </p:grpSp>
      <p:cxnSp>
        <p:nvCxnSpPr>
          <p:cNvPr id="293" name="Straight Connector 292">
            <a:extLst>
              <a:ext uri="{FF2B5EF4-FFF2-40B4-BE49-F238E27FC236}">
                <a16:creationId xmlns:a16="http://schemas.microsoft.com/office/drawing/2014/main" id="{3CF65810-6C87-43C4-8A1E-DF1804891119}"/>
              </a:ext>
            </a:extLst>
          </p:cNvPr>
          <p:cNvCxnSpPr>
            <a:cxnSpLocks/>
          </p:cNvCxnSpPr>
          <p:nvPr/>
        </p:nvCxnSpPr>
        <p:spPr>
          <a:xfrm>
            <a:off x="6106520" y="5563316"/>
            <a:ext cx="2724923" cy="0"/>
          </a:xfrm>
          <a:prstGeom prst="line">
            <a:avLst/>
          </a:prstGeom>
          <a:ln w="3175">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87" name="TextBox 186">
            <a:extLst>
              <a:ext uri="{FF2B5EF4-FFF2-40B4-BE49-F238E27FC236}">
                <a16:creationId xmlns:a16="http://schemas.microsoft.com/office/drawing/2014/main" id="{06C3AFCE-8E14-4A74-9425-2B03EB86A780}"/>
              </a:ext>
            </a:extLst>
          </p:cNvPr>
          <p:cNvSpPr txBox="1">
            <a:spLocks/>
          </p:cNvSpPr>
          <p:nvPr/>
        </p:nvSpPr>
        <p:spPr>
          <a:xfrm>
            <a:off x="3279402" y="4658796"/>
            <a:ext cx="2549754" cy="115416"/>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pPr rtl="0"/>
            <a:r>
              <a:rPr lang="es-EC" sz="750" dirty="0">
                <a:latin typeface="Gill Sans MT" panose="020B0502020104020203" pitchFamily="34" charset="0"/>
                <a:cs typeface="Calibri" panose="020F0502020204030204" pitchFamily="34" charset="0"/>
                <a:sym typeface="Gill Sans MT" panose="020B0502020104020203" pitchFamily="34" charset="0"/>
              </a:rPr>
              <a:t>Guantes</a:t>
            </a:r>
          </a:p>
        </p:txBody>
      </p:sp>
      <p:sp>
        <p:nvSpPr>
          <p:cNvPr id="194" name="TextBox 193">
            <a:extLst>
              <a:ext uri="{FF2B5EF4-FFF2-40B4-BE49-F238E27FC236}">
                <a16:creationId xmlns:a16="http://schemas.microsoft.com/office/drawing/2014/main" id="{D2548810-E1AD-40D1-B59B-0FAD4BFDD6CF}"/>
              </a:ext>
            </a:extLst>
          </p:cNvPr>
          <p:cNvSpPr txBox="1">
            <a:spLocks/>
          </p:cNvSpPr>
          <p:nvPr/>
        </p:nvSpPr>
        <p:spPr>
          <a:xfrm>
            <a:off x="3279402" y="4866424"/>
            <a:ext cx="2549754" cy="115416"/>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pPr rtl="0"/>
            <a:r>
              <a:rPr lang="es-EC" sz="750">
                <a:latin typeface="Gill Sans MT" panose="020B0502020104020203" pitchFamily="34" charset="0"/>
                <a:cs typeface="Calibri" panose="020F0502020204030204" pitchFamily="34" charset="0"/>
                <a:sym typeface="Gill Sans MT" panose="020B0502020104020203" pitchFamily="34" charset="0"/>
              </a:rPr>
              <a:t>Anteojos de protección</a:t>
            </a:r>
            <a:endParaRPr lang="es-EC" sz="750" dirty="0">
              <a:latin typeface="Gill Sans MT" panose="020B0502020104020203" pitchFamily="34" charset="0"/>
              <a:cs typeface="Calibri" panose="020F0502020204030204" pitchFamily="34" charset="0"/>
              <a:sym typeface="Gill Sans MT" panose="020B0502020104020203" pitchFamily="34" charset="0"/>
            </a:endParaRPr>
          </a:p>
        </p:txBody>
      </p:sp>
      <p:sp>
        <p:nvSpPr>
          <p:cNvPr id="201" name="TextBox 200">
            <a:extLst>
              <a:ext uri="{FF2B5EF4-FFF2-40B4-BE49-F238E27FC236}">
                <a16:creationId xmlns:a16="http://schemas.microsoft.com/office/drawing/2014/main" id="{53926101-FD79-4B41-8C14-7774067280D2}"/>
              </a:ext>
            </a:extLst>
          </p:cNvPr>
          <p:cNvSpPr txBox="1">
            <a:spLocks/>
          </p:cNvSpPr>
          <p:nvPr/>
        </p:nvSpPr>
        <p:spPr>
          <a:xfrm>
            <a:off x="3279402" y="5281680"/>
            <a:ext cx="2549754" cy="115416"/>
          </a:xfrm>
          <a:prstGeom prst="rect">
            <a:avLst/>
          </a:prstGeom>
        </p:spPr>
        <p:txBody>
          <a:bodyPr vert="horz" wrap="square" lIns="0" tIns="0" rIns="0" bIns="0" rtlCol="0" anchor="ctr">
            <a:spAutoFit/>
          </a:bodyPr>
          <a:lstStyle>
            <a:lvl1pPr marL="0" lvl="0" indent="0" defTabSz="913516" eaLnBrk="1" latinLnBrk="0" hangingPunct="1">
              <a:buClr>
                <a:schemeClr val="tx2"/>
              </a:buClr>
              <a:buSzPct val="100000"/>
              <a:defRPr lang="x-none" sz="1600" baseline="0">
                <a:latin typeface="+mn-lt"/>
              </a:defRPr>
            </a:lvl1pPr>
            <a:lvl2pPr marL="192018" lvl="1" indent="-192018" defTabSz="913516" eaLnBrk="1" latinLnBrk="0" hangingPunct="1">
              <a:buClr>
                <a:schemeClr val="tx2"/>
              </a:buClr>
              <a:buSzPct val="125000"/>
              <a:buFont typeface="Arial" charset="0"/>
              <a:buChar char="▪"/>
              <a:defRPr lang="x-none" sz="1600" baseline="0">
                <a:latin typeface="+mn-lt"/>
              </a:defRPr>
            </a:lvl2pPr>
            <a:lvl3pPr marL="457187" lvl="2" indent="-265168" defTabSz="913516" eaLnBrk="1" latinLnBrk="0" hangingPunct="1">
              <a:buClr>
                <a:schemeClr val="tx2"/>
              </a:buClr>
              <a:buSzPct val="120000"/>
              <a:buFont typeface="Arial" charset="0"/>
              <a:buChar char="–"/>
              <a:defRPr lang="x-none" sz="1600" baseline="0">
                <a:latin typeface="+mn-lt"/>
              </a:defRPr>
            </a:lvl3pPr>
            <a:lvl4pPr marL="626828" lvl="3" indent="-155444" defTabSz="913516" eaLnBrk="1" latinLnBrk="0" hangingPunct="1">
              <a:buClr>
                <a:schemeClr val="tx2"/>
              </a:buClr>
              <a:buSzPct val="120000"/>
              <a:buFont typeface="Arial" charset="0"/>
              <a:buChar char="▫"/>
              <a:defRPr lang="x-none" sz="1600" baseline="0">
                <a:latin typeface="+mn-lt"/>
              </a:defRPr>
            </a:lvl4pPr>
            <a:lvl5pPr marL="749786" lvl="4" indent="-128013" defTabSz="913516" eaLnBrk="1" latinLnBrk="0" hangingPunct="1">
              <a:buClr>
                <a:schemeClr val="tx2"/>
              </a:buClr>
              <a:buSzPct val="89000"/>
              <a:buFont typeface="Arial" charset="0"/>
              <a:buChar char="-"/>
              <a:defRPr lang="x-none" sz="1600" baseline="0">
                <a:latin typeface="+mn-lt"/>
              </a:defRPr>
            </a:lvl5pPr>
            <a:lvl6pPr marL="765021" indent="-132817" defTabSz="913516" fontAlgn="base">
              <a:spcBef>
                <a:spcPct val="0"/>
              </a:spcBef>
              <a:spcAft>
                <a:spcPct val="0"/>
              </a:spcAft>
              <a:buClr>
                <a:schemeClr val="tx2"/>
              </a:buClr>
              <a:buSzPct val="89000"/>
              <a:buFont typeface="Arial" charset="0"/>
              <a:buChar char="-"/>
              <a:defRPr lang="x-none" sz="1632" baseline="0">
                <a:latin typeface="+mn-lt"/>
              </a:defRPr>
            </a:lvl6pPr>
            <a:lvl7pPr marL="765021" indent="-132817" defTabSz="913516" fontAlgn="base">
              <a:spcBef>
                <a:spcPct val="0"/>
              </a:spcBef>
              <a:spcAft>
                <a:spcPct val="0"/>
              </a:spcAft>
              <a:buClr>
                <a:schemeClr val="tx2"/>
              </a:buClr>
              <a:buSzPct val="89000"/>
              <a:buFont typeface="Arial" charset="0"/>
              <a:buChar char="-"/>
              <a:defRPr lang="x-none" sz="1632" baseline="0">
                <a:latin typeface="+mn-lt"/>
              </a:defRPr>
            </a:lvl7pPr>
            <a:lvl8pPr marL="765021" indent="-132817" defTabSz="913516" fontAlgn="base">
              <a:spcBef>
                <a:spcPct val="0"/>
              </a:spcBef>
              <a:spcAft>
                <a:spcPct val="0"/>
              </a:spcAft>
              <a:buClr>
                <a:schemeClr val="tx2"/>
              </a:buClr>
              <a:buSzPct val="89000"/>
              <a:buFont typeface="Arial" charset="0"/>
              <a:buChar char="-"/>
              <a:defRPr lang="x-none" sz="1632" baseline="0">
                <a:latin typeface="+mn-lt"/>
              </a:defRPr>
            </a:lvl8pPr>
            <a:lvl9pPr marL="765021" indent="-132817" defTabSz="913516" fontAlgn="base">
              <a:spcBef>
                <a:spcPct val="0"/>
              </a:spcBef>
              <a:spcAft>
                <a:spcPct val="0"/>
              </a:spcAft>
              <a:buClr>
                <a:schemeClr val="tx2"/>
              </a:buClr>
              <a:buSzPct val="89000"/>
              <a:buFont typeface="Arial" charset="0"/>
              <a:buChar char="-"/>
              <a:defRPr lang="x-none" sz="1632" baseline="0">
                <a:latin typeface="+mn-lt"/>
              </a:defRPr>
            </a:lvl9pPr>
          </a:lstStyle>
          <a:p>
            <a:pPr rtl="0"/>
            <a:r>
              <a:rPr lang="es-EC" sz="750">
                <a:latin typeface="Gill Sans MT" panose="020B0502020104020203" pitchFamily="34" charset="0"/>
                <a:cs typeface="Calibri" panose="020F0502020204030204" pitchFamily="34" charset="0"/>
                <a:sym typeface="Gill Sans MT" panose="020B0502020104020203" pitchFamily="34" charset="0"/>
              </a:rPr>
              <a:t>Máscara médica</a:t>
            </a:r>
            <a:endParaRPr lang="es-EC" sz="750" dirty="0">
              <a:latin typeface="Gill Sans MT" panose="020B0502020104020203" pitchFamily="34" charset="0"/>
              <a:cs typeface="Calibri" panose="020F0502020204030204" pitchFamily="34" charset="0"/>
              <a:sym typeface="Gill Sans MT" panose="020B0502020104020203" pitchFamily="34" charset="0"/>
            </a:endParaRPr>
          </a:p>
        </p:txBody>
      </p:sp>
      <p:sp>
        <p:nvSpPr>
          <p:cNvPr id="204" name="TextBox 203">
            <a:extLst>
              <a:ext uri="{FF2B5EF4-FFF2-40B4-BE49-F238E27FC236}">
                <a16:creationId xmlns:a16="http://schemas.microsoft.com/office/drawing/2014/main" id="{428C0CD4-907B-4ED0-96A8-9EE9A8A8782C}"/>
              </a:ext>
            </a:extLst>
          </p:cNvPr>
          <p:cNvSpPr txBox="1">
            <a:spLocks/>
          </p:cNvSpPr>
          <p:nvPr/>
        </p:nvSpPr>
        <p:spPr>
          <a:xfrm>
            <a:off x="3279402" y="5074052"/>
            <a:ext cx="2549754" cy="115416"/>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rtl="0"/>
            <a:r>
              <a:rPr lang="es-EC" sz="750">
                <a:latin typeface="Gill Sans MT" panose="020B0502020104020203" pitchFamily="34" charset="0"/>
                <a:cs typeface="Calibri" panose="020F0502020204030204" pitchFamily="34" charset="0"/>
                <a:sym typeface="Gill Sans MT" panose="020B0502020104020203" pitchFamily="34" charset="0"/>
              </a:rPr>
              <a:t>Bata, desechable e impermeable, con puños elásticos </a:t>
            </a:r>
            <a:endParaRPr lang="es-EC" sz="750" dirty="0">
              <a:latin typeface="Gill Sans MT" panose="020B0502020104020203" pitchFamily="34" charset="0"/>
              <a:cs typeface="Calibri" panose="020F0502020204030204" pitchFamily="34" charset="0"/>
              <a:sym typeface="Gill Sans MT" panose="020B0502020104020203" pitchFamily="34" charset="0"/>
            </a:endParaRPr>
          </a:p>
        </p:txBody>
      </p:sp>
      <p:grpSp>
        <p:nvGrpSpPr>
          <p:cNvPr id="176" name="Group 175">
            <a:extLst>
              <a:ext uri="{FF2B5EF4-FFF2-40B4-BE49-F238E27FC236}">
                <a16:creationId xmlns:a16="http://schemas.microsoft.com/office/drawing/2014/main" id="{245D7C08-A321-4166-B9AE-6D04E1C92FCA}"/>
              </a:ext>
            </a:extLst>
          </p:cNvPr>
          <p:cNvGrpSpPr/>
          <p:nvPr/>
        </p:nvGrpSpPr>
        <p:grpSpPr>
          <a:xfrm>
            <a:off x="141996" y="4745392"/>
            <a:ext cx="2705049" cy="123111"/>
            <a:chOff x="141996" y="4972378"/>
            <a:chExt cx="2705049" cy="131176"/>
          </a:xfrm>
        </p:grpSpPr>
        <p:sp>
          <p:nvSpPr>
            <p:cNvPr id="177" name="TextBox 176">
              <a:extLst>
                <a:ext uri="{FF2B5EF4-FFF2-40B4-BE49-F238E27FC236}">
                  <a16:creationId xmlns:a16="http://schemas.microsoft.com/office/drawing/2014/main" id="{38A9E3B1-A56C-467B-AA8B-CDB46EE01374}"/>
                </a:ext>
              </a:extLst>
            </p:cNvPr>
            <p:cNvSpPr txBox="1">
              <a:spLocks/>
            </p:cNvSpPr>
            <p:nvPr/>
          </p:nvSpPr>
          <p:spPr>
            <a:xfrm>
              <a:off x="326043" y="4972378"/>
              <a:ext cx="2521002" cy="131176"/>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s-EC" sz="800" dirty="0">
                  <a:latin typeface="Gill Sans MT" panose="020B0502020104020203" pitchFamily="34" charset="0"/>
                  <a:cs typeface="Calibri" panose="020F0502020204030204" pitchFamily="34" charset="0"/>
                  <a:sym typeface="Gill Sans MT" panose="020B0502020104020203" pitchFamily="34" charset="0"/>
                </a:rPr>
                <a:t>Máscaras respiradores N95  </a:t>
              </a:r>
            </a:p>
          </p:txBody>
        </p:sp>
        <p:sp>
          <p:nvSpPr>
            <p:cNvPr id="178" name="Rectangle 177">
              <a:extLst>
                <a:ext uri="{FF2B5EF4-FFF2-40B4-BE49-F238E27FC236}">
                  <a16:creationId xmlns:a16="http://schemas.microsoft.com/office/drawing/2014/main" id="{F96337EF-AACC-47F3-9301-C0F2FDD40D4E}"/>
                </a:ext>
              </a:extLst>
            </p:cNvPr>
            <p:cNvSpPr>
              <a:spLocks/>
            </p:cNvSpPr>
            <p:nvPr/>
          </p:nvSpPr>
          <p:spPr>
            <a:xfrm>
              <a:off x="141996" y="4979161"/>
              <a:ext cx="91550" cy="76168"/>
            </a:xfrm>
            <a:prstGeom prst="rect">
              <a:avLst/>
            </a:prstGeom>
            <a:solidFill>
              <a:schemeClr val="bg1"/>
            </a:solidFill>
            <a:ln w="31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800" dirty="0">
                <a:solidFill>
                  <a:schemeClr val="tx2"/>
                </a:solidFill>
                <a:latin typeface="Gill Sans MT" panose="020B0502020104020203" pitchFamily="34" charset="0"/>
              </a:endParaRPr>
            </a:p>
          </p:txBody>
        </p:sp>
      </p:grpSp>
      <p:cxnSp>
        <p:nvCxnSpPr>
          <p:cNvPr id="179" name="Straight Connector 178">
            <a:extLst>
              <a:ext uri="{FF2B5EF4-FFF2-40B4-BE49-F238E27FC236}">
                <a16:creationId xmlns:a16="http://schemas.microsoft.com/office/drawing/2014/main" id="{46248FA2-EDA3-47A8-BFF3-973B519EA901}"/>
              </a:ext>
            </a:extLst>
          </p:cNvPr>
          <p:cNvCxnSpPr>
            <a:cxnSpLocks/>
          </p:cNvCxnSpPr>
          <p:nvPr/>
        </p:nvCxnSpPr>
        <p:spPr>
          <a:xfrm>
            <a:off x="141996" y="4889287"/>
            <a:ext cx="2705049" cy="0"/>
          </a:xfrm>
          <a:prstGeom prst="line">
            <a:avLst/>
          </a:prstGeom>
          <a:ln w="3175">
            <a:solidFill>
              <a:schemeClr val="accent6"/>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02446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TBTACCENT" val="Text2ColorBoldText"/>
  <p:tag name="PREVIOUSNAME" val="C:\Users\Luz Flores\Box Sync\USAID GHSA\05. Zika\04. Team working folder\02. Luz Flores\06. Translation\1. Final deliverables\3. Playbook tools\Overview Quick Guide\20190114 ESC Overview Quick Guide.pptx"/>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Fu2KW5KdAvoUYLrmFnOKQ"/>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qpt6B1lmD6RKCc.WcH.uGw"/>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GkcrS.tmQeqJu48f2CdzdA"/>
</p:tagLst>
</file>

<file path=ppt/tags/tag71.xml><?xml version="1.0" encoding="utf-8"?>
<p:tagLst xmlns:a="http://schemas.openxmlformats.org/drawingml/2006/main" xmlns:r="http://schemas.openxmlformats.org/officeDocument/2006/relationships" xmlns:p="http://schemas.openxmlformats.org/presentationml/2006/main">
  <p:tag nam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heme/theme1.xml><?xml version="1.0" encoding="utf-8"?>
<a:theme xmlns:a="http://schemas.openxmlformats.org/drawingml/2006/main" name="US AID_CF_USU048">
  <a:themeElements>
    <a:clrScheme name="Current">
      <a:dk1>
        <a:srgbClr val="000000"/>
      </a:dk1>
      <a:lt1>
        <a:srgbClr val="FFFFFF"/>
      </a:lt1>
      <a:dk2>
        <a:srgbClr val="BA0C2F"/>
      </a:dk2>
      <a:lt2>
        <a:srgbClr val="FFFFFF"/>
      </a:lt2>
      <a:accent1>
        <a:srgbClr val="C9D1D9"/>
      </a:accent1>
      <a:accent2>
        <a:srgbClr val="738BA8"/>
      </a:accent2>
      <a:accent3>
        <a:srgbClr val="002F6C"/>
      </a:accent3>
      <a:accent4>
        <a:srgbClr val="BA0C2F"/>
      </a:accent4>
      <a:accent5>
        <a:srgbClr val="5A5A5A"/>
      </a:accent5>
      <a:accent6>
        <a:srgbClr val="808080"/>
      </a:accent6>
      <a:hlink>
        <a:srgbClr val="002F6C"/>
      </a:hlink>
      <a:folHlink>
        <a:srgbClr val="BA0C2F"/>
      </a:folHlink>
    </a:clrScheme>
    <a:fontScheme name="Custom 40">
      <a:majorFont>
        <a:latin typeface="Gill Sans MT"/>
        <a:ea typeface=""/>
        <a:cs typeface=""/>
      </a:majorFont>
      <a:minorFont>
        <a:latin typeface="Gill Sans M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BA0C2F"/>
        </a:dk2>
        <a:lt2>
          <a:srgbClr val="FFFFFF"/>
        </a:lt2>
        <a:accent1>
          <a:srgbClr val="C9D1D9"/>
        </a:accent1>
        <a:accent2>
          <a:srgbClr val="738BA8"/>
        </a:accent2>
        <a:accent3>
          <a:srgbClr val="002F6C"/>
        </a:accent3>
        <a:accent4>
          <a:srgbClr val="BA0C2F"/>
        </a:accent4>
        <a:accent5>
          <a:srgbClr val="5A5A5A"/>
        </a:accent5>
        <a:accent6>
          <a:srgbClr val="808080"/>
        </a:accent6>
        <a:hlink>
          <a:srgbClr val="002F6C"/>
        </a:hlink>
        <a:folHlink>
          <a:srgbClr val="BA0C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US AID_CF_USU048.potx" id="{07FF0B88-3680-4E73-A00C-F6E6DDE69059}" vid="{1D7E2AD3-7151-4A85-9946-ED2FEE6B7421}"/>
    </a:ext>
  </a:extLst>
</a:theme>
</file>

<file path=ppt/theme/theme2.xml><?xml version="1.0" encoding="utf-8"?>
<a:theme xmlns:a="http://schemas.openxmlformats.org/drawingml/2006/main" name="1_GHSC-PSM-Standard">
  <a:themeElements>
    <a:clrScheme name="USAID Primary/secondary">
      <a:dk1>
        <a:sysClr val="windowText" lastClr="000000"/>
      </a:dk1>
      <a:lt1>
        <a:srgbClr val="FFFFFF"/>
      </a:lt1>
      <a:dk2>
        <a:srgbClr val="002F6C"/>
      </a:dk2>
      <a:lt2>
        <a:srgbClr val="BA0C2F"/>
      </a:lt2>
      <a:accent1>
        <a:srgbClr val="002F6C"/>
      </a:accent1>
      <a:accent2>
        <a:srgbClr val="BA0C2F"/>
      </a:accent2>
      <a:accent3>
        <a:srgbClr val="0067B9"/>
      </a:accent3>
      <a:accent4>
        <a:srgbClr val="A7C6ED"/>
      </a:accent4>
      <a:accent5>
        <a:srgbClr val="651D32"/>
      </a:accent5>
      <a:accent6>
        <a:srgbClr val="6C6463"/>
      </a:accent6>
      <a:hlink>
        <a:srgbClr val="6C6463"/>
      </a:hlink>
      <a:folHlink>
        <a:srgbClr val="6C6463"/>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xytocine_RHCS_20181115" id="{A5BB38A3-C514-46E8-87E2-5B8B4F5B243B}" vid="{0B29C1BC-4591-4404-9DEF-19F961C2F84E}"/>
    </a:ext>
  </a:extLst>
</a:theme>
</file>

<file path=ppt/theme/theme3.xml><?xml version="1.0" encoding="utf-8"?>
<a:theme xmlns:a="http://schemas.openxmlformats.org/drawingml/2006/main" name="3_GHSC-PSM-Standard">
  <a:themeElements>
    <a:clrScheme name="USAID Primary/secondary">
      <a:dk1>
        <a:sysClr val="windowText" lastClr="000000"/>
      </a:dk1>
      <a:lt1>
        <a:srgbClr val="FFFFFF"/>
      </a:lt1>
      <a:dk2>
        <a:srgbClr val="002F6C"/>
      </a:dk2>
      <a:lt2>
        <a:srgbClr val="BA0C2F"/>
      </a:lt2>
      <a:accent1>
        <a:srgbClr val="002F6C"/>
      </a:accent1>
      <a:accent2>
        <a:srgbClr val="BA0C2F"/>
      </a:accent2>
      <a:accent3>
        <a:srgbClr val="0067B9"/>
      </a:accent3>
      <a:accent4>
        <a:srgbClr val="A7C6ED"/>
      </a:accent4>
      <a:accent5>
        <a:srgbClr val="651D32"/>
      </a:accent5>
      <a:accent6>
        <a:srgbClr val="6C6463"/>
      </a:accent6>
      <a:hlink>
        <a:srgbClr val="6C6463"/>
      </a:hlink>
      <a:folHlink>
        <a:srgbClr val="6C6463"/>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xytocine_RHCS_20181115" id="{A5BB38A3-C514-46E8-87E2-5B8B4F5B243B}" vid="{0B29C1BC-4591-4404-9DEF-19F961C2F84E}"/>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206</TotalTime>
  <Words>637</Words>
  <Application>Microsoft Office PowerPoint</Application>
  <PresentationFormat>Custom</PresentationFormat>
  <Paragraphs>59</Paragraphs>
  <Slides>1</Slides>
  <Notes>1</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vt:i4>
      </vt:variant>
    </vt:vector>
  </HeadingPairs>
  <TitlesOfParts>
    <vt:vector size="9" baseType="lpstr">
      <vt:lpstr>Arial</vt:lpstr>
      <vt:lpstr>Calibri</vt:lpstr>
      <vt:lpstr>Courier New</vt:lpstr>
      <vt:lpstr>Gill Sans MT</vt:lpstr>
      <vt:lpstr>US AID_CF_USU048</vt:lpstr>
      <vt:lpstr>1_GHSC-PSM-Standard</vt:lpstr>
      <vt:lpstr>3_GHSC-PSM-Standard</vt:lpstr>
      <vt:lpstr>think-cell Slide</vt:lpstr>
      <vt:lpstr>Hoja de referencia médica de la cadena de suministros de COVID-19</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SC Playbook Technical User Guide</dc:title>
  <dc:creator>Luz Flores</dc:creator>
  <cp:lastModifiedBy>Rhyenne Zimmerman</cp:lastModifiedBy>
  <cp:revision>176</cp:revision>
  <dcterms:created xsi:type="dcterms:W3CDTF">2018-12-07T20:00:34Z</dcterms:created>
  <dcterms:modified xsi:type="dcterms:W3CDTF">2020-02-28T16:34: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05e5817-eb54-4d3c-a869-7efe45e55606_Enabled">
    <vt:lpwstr>True</vt:lpwstr>
  </property>
  <property fmtid="{D5CDD505-2E9C-101B-9397-08002B2CF9AE}" pid="3" name="MSIP_Label_205e5817-eb54-4d3c-a869-7efe45e55606_SiteId">
    <vt:lpwstr>cc8936bc-9382-4fff-87cb-6f55999549e7</vt:lpwstr>
  </property>
  <property fmtid="{D5CDD505-2E9C-101B-9397-08002B2CF9AE}" pid="4" name="MSIP_Label_205e5817-eb54-4d3c-a869-7efe45e55606_Owner">
    <vt:lpwstr>Carolina_Trombetta@mckinsey.com</vt:lpwstr>
  </property>
  <property fmtid="{D5CDD505-2E9C-101B-9397-08002B2CF9AE}" pid="5" name="MSIP_Label_205e5817-eb54-4d3c-a869-7efe45e55606_SetDate">
    <vt:lpwstr>2020-02-28T02:51:16.5427354Z</vt:lpwstr>
  </property>
  <property fmtid="{D5CDD505-2E9C-101B-9397-08002B2CF9AE}" pid="6" name="MSIP_Label_205e5817-eb54-4d3c-a869-7efe45e55606_Name">
    <vt:lpwstr>Internal</vt:lpwstr>
  </property>
  <property fmtid="{D5CDD505-2E9C-101B-9397-08002B2CF9AE}" pid="7" name="MSIP_Label_205e5817-eb54-4d3c-a869-7efe45e55606_Application">
    <vt:lpwstr>Microsoft Azure Information Protection</vt:lpwstr>
  </property>
  <property fmtid="{D5CDD505-2E9C-101B-9397-08002B2CF9AE}" pid="8" name="MSIP_Label_205e5817-eb54-4d3c-a869-7efe45e55606_ActionId">
    <vt:lpwstr>76435c85-3134-41b9-a29d-20c75daa77b0</vt:lpwstr>
  </property>
  <property fmtid="{D5CDD505-2E9C-101B-9397-08002B2CF9AE}" pid="9" name="MSIP_Label_205e5817-eb54-4d3c-a869-7efe45e55606_Extended_MSFT_Method">
    <vt:lpwstr>Automatic</vt:lpwstr>
  </property>
  <property fmtid="{D5CDD505-2E9C-101B-9397-08002B2CF9AE}" pid="10" name="Sensitivity">
    <vt:lpwstr>Internal</vt:lpwstr>
  </property>
</Properties>
</file>